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2"/>
  </p:notesMasterIdLst>
  <p:sldIdLst>
    <p:sldId id="256" r:id="rId5"/>
    <p:sldId id="264" r:id="rId6"/>
    <p:sldId id="265" r:id="rId7"/>
    <p:sldId id="266" r:id="rId8"/>
    <p:sldId id="267" r:id="rId9"/>
    <p:sldId id="268" r:id="rId10"/>
    <p:sldId id="272" r:id="rId11"/>
    <p:sldId id="273" r:id="rId12"/>
    <p:sldId id="274" r:id="rId13"/>
    <p:sldId id="275" r:id="rId14"/>
    <p:sldId id="276" r:id="rId15"/>
    <p:sldId id="277" r:id="rId16"/>
    <p:sldId id="278" r:id="rId17"/>
    <p:sldId id="279" r:id="rId18"/>
    <p:sldId id="280" r:id="rId19"/>
    <p:sldId id="281" r:id="rId20"/>
    <p:sldId id="282" r:id="rId21"/>
    <p:sldId id="283" r:id="rId22"/>
    <p:sldId id="285" r:id="rId23"/>
    <p:sldId id="286" r:id="rId24"/>
    <p:sldId id="284" r:id="rId25"/>
    <p:sldId id="287" r:id="rId26"/>
    <p:sldId id="3127" r:id="rId27"/>
    <p:sldId id="290" r:id="rId28"/>
    <p:sldId id="291" r:id="rId29"/>
    <p:sldId id="293" r:id="rId30"/>
    <p:sldId id="294" r:id="rId31"/>
  </p:sldIdLst>
  <p:sldSz cx="9144000" cy="6858000" type="screen4x3"/>
  <p:notesSz cx="6950075" cy="9236075"/>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2880" userDrawn="1">
          <p15:clr>
            <a:srgbClr val="A4A3A4"/>
          </p15:clr>
        </p15:guide>
        <p15:guide id="3" orient="horz" pos="4320" userDrawn="1">
          <p15:clr>
            <a:srgbClr val="A4A3A4"/>
          </p15:clr>
        </p15:guide>
        <p15:guide id="4" orient="horz" userDrawn="1">
          <p15:clr>
            <a:srgbClr val="A4A3A4"/>
          </p15:clr>
        </p15:guide>
        <p15:guide id="6" pos="57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ad Kostka" initials="BK" lastIdx="0" clrIdx="0">
    <p:extLst>
      <p:ext uri="{19B8F6BF-5375-455C-9EA6-DF929625EA0E}">
        <p15:presenceInfo xmlns:p15="http://schemas.microsoft.com/office/powerpoint/2012/main" userId="S::bkostka@roopco.com::5bf04b9e-3f2b-4203-8d7a-b84b746d51c3" providerId="AD"/>
      </p:ext>
    </p:extLst>
  </p:cmAuthor>
  <p:cmAuthor id="2" name="Joe Toula" initials="JT" lastIdx="0" clrIdx="1">
    <p:extLst>
      <p:ext uri="{19B8F6BF-5375-455C-9EA6-DF929625EA0E}">
        <p15:presenceInfo xmlns:p15="http://schemas.microsoft.com/office/powerpoint/2012/main" userId="S::jtoula@rpminc.com::2df48d24-f262-454e-ad9c-9a6f9fc72b19" providerId="AD"/>
      </p:ext>
    </p:extLst>
  </p:cmAuthor>
  <p:cmAuthor id="3" name="Cain, Caroline" initials="CC"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5B5154-AD68-40FA-B378-DB5327A2208C}" v="15" dt="2024-03-25T18:20:59.048"/>
    <p1510:client id="{5F9A5095-15C7-4BF8-A3D7-9D6D94260068}" v="455" dt="2024-03-25T15:14:30.2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53" autoAdjust="0"/>
    <p:restoredTop sz="95187" autoAdjust="0"/>
  </p:normalViewPr>
  <p:slideViewPr>
    <p:cSldViewPr snapToGrid="0">
      <p:cViewPr varScale="1">
        <p:scale>
          <a:sx n="108" d="100"/>
          <a:sy n="108" d="100"/>
        </p:scale>
        <p:origin x="1662" y="150"/>
      </p:cViewPr>
      <p:guideLst>
        <p:guide orient="horz" pos="2184"/>
        <p:guide pos="2880"/>
        <p:guide orient="horz" pos="4320"/>
        <p:guide orient="horz"/>
        <p:guide pos="5760"/>
      </p:guideLst>
    </p:cSldViewPr>
  </p:slideViewPr>
  <p:outlineViewPr>
    <p:cViewPr>
      <p:scale>
        <a:sx n="33" d="100"/>
        <a:sy n="33" d="100"/>
      </p:scale>
      <p:origin x="0" y="-9446"/>
    </p:cViewPr>
  </p:outlineViewPr>
  <p:notesTextViewPr>
    <p:cViewPr>
      <p:scale>
        <a:sx n="1" d="1"/>
        <a:sy n="1" d="1"/>
      </p:scale>
      <p:origin x="0" y="0"/>
    </p:cViewPr>
  </p:notesTextViewPr>
  <p:sorterViewPr>
    <p:cViewPr>
      <p:scale>
        <a:sx n="66" d="100"/>
        <a:sy n="66" d="100"/>
      </p:scale>
      <p:origin x="0" y="0"/>
    </p:cViewPr>
  </p:sorterViewPr>
  <p:notesViewPr>
    <p:cSldViewPr snapToGrid="0">
      <p:cViewPr>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6/11/relationships/changesInfo" Target="changesInfos/changesInfo1.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elley Earl" userId="4951d46f-b647-4b3c-b822-5808962dcca8" providerId="ADAL" clId="{5F9A5095-15C7-4BF8-A3D7-9D6D94260068}"/>
    <pc:docChg chg="undo custSel addSld delSld modSld sldOrd">
      <pc:chgData name="Shelley Earl" userId="4951d46f-b647-4b3c-b822-5808962dcca8" providerId="ADAL" clId="{5F9A5095-15C7-4BF8-A3D7-9D6D94260068}" dt="2024-03-25T15:16:22.607" v="1141" actId="47"/>
      <pc:docMkLst>
        <pc:docMk/>
      </pc:docMkLst>
      <pc:sldChg chg="modSp mod">
        <pc:chgData name="Shelley Earl" userId="4951d46f-b647-4b3c-b822-5808962dcca8" providerId="ADAL" clId="{5F9A5095-15C7-4BF8-A3D7-9D6D94260068}" dt="2024-03-25T15:13:42.543" v="1028" actId="20577"/>
        <pc:sldMkLst>
          <pc:docMk/>
          <pc:sldMk cId="2097898915" sldId="264"/>
        </pc:sldMkLst>
        <pc:spChg chg="mod">
          <ac:chgData name="Shelley Earl" userId="4951d46f-b647-4b3c-b822-5808962dcca8" providerId="ADAL" clId="{5F9A5095-15C7-4BF8-A3D7-9D6D94260068}" dt="2024-03-25T15:13:42.543" v="1028" actId="20577"/>
          <ac:spMkLst>
            <pc:docMk/>
            <pc:sldMk cId="2097898915" sldId="264"/>
            <ac:spMk id="8" creationId="{87671493-6848-DBAF-4C09-CA1EE485840B}"/>
          </ac:spMkLst>
        </pc:spChg>
      </pc:sldChg>
      <pc:sldChg chg="modSp">
        <pc:chgData name="Shelley Earl" userId="4951d46f-b647-4b3c-b822-5808962dcca8" providerId="ADAL" clId="{5F9A5095-15C7-4BF8-A3D7-9D6D94260068}" dt="2024-03-25T14:32:37.392" v="19" actId="20577"/>
        <pc:sldMkLst>
          <pc:docMk/>
          <pc:sldMk cId="3009587968" sldId="268"/>
        </pc:sldMkLst>
        <pc:graphicFrameChg chg="mod">
          <ac:chgData name="Shelley Earl" userId="4951d46f-b647-4b3c-b822-5808962dcca8" providerId="ADAL" clId="{5F9A5095-15C7-4BF8-A3D7-9D6D94260068}" dt="2024-03-25T14:32:37.392" v="19" actId="20577"/>
          <ac:graphicFrameMkLst>
            <pc:docMk/>
            <pc:sldMk cId="3009587968" sldId="268"/>
            <ac:graphicFrameMk id="11" creationId="{29D13C8E-8DED-44C4-E9EA-CA8A2E541890}"/>
          </ac:graphicFrameMkLst>
        </pc:graphicFrameChg>
      </pc:sldChg>
      <pc:sldChg chg="modSp mod">
        <pc:chgData name="Shelley Earl" userId="4951d46f-b647-4b3c-b822-5808962dcca8" providerId="ADAL" clId="{5F9A5095-15C7-4BF8-A3D7-9D6D94260068}" dt="2024-03-25T14:39:49.824" v="312" actId="20577"/>
        <pc:sldMkLst>
          <pc:docMk/>
          <pc:sldMk cId="2177728087" sldId="272"/>
        </pc:sldMkLst>
        <pc:spChg chg="mod">
          <ac:chgData name="Shelley Earl" userId="4951d46f-b647-4b3c-b822-5808962dcca8" providerId="ADAL" clId="{5F9A5095-15C7-4BF8-A3D7-9D6D94260068}" dt="2024-03-25T14:39:49.824" v="312" actId="20577"/>
          <ac:spMkLst>
            <pc:docMk/>
            <pc:sldMk cId="2177728087" sldId="272"/>
            <ac:spMk id="8" creationId="{F639AE83-D0E3-35F9-4EDD-3B02A67DEA40}"/>
          </ac:spMkLst>
        </pc:spChg>
      </pc:sldChg>
      <pc:sldChg chg="modSp mod">
        <pc:chgData name="Shelley Earl" userId="4951d46f-b647-4b3c-b822-5808962dcca8" providerId="ADAL" clId="{5F9A5095-15C7-4BF8-A3D7-9D6D94260068}" dt="2024-03-25T14:35:34.842" v="127" actId="6549"/>
        <pc:sldMkLst>
          <pc:docMk/>
          <pc:sldMk cId="832071717" sldId="273"/>
        </pc:sldMkLst>
        <pc:spChg chg="mod">
          <ac:chgData name="Shelley Earl" userId="4951d46f-b647-4b3c-b822-5808962dcca8" providerId="ADAL" clId="{5F9A5095-15C7-4BF8-A3D7-9D6D94260068}" dt="2024-03-25T14:35:34.842" v="127" actId="6549"/>
          <ac:spMkLst>
            <pc:docMk/>
            <pc:sldMk cId="832071717" sldId="273"/>
            <ac:spMk id="8" creationId="{150F00E2-00FB-9955-A67E-6B6D62965415}"/>
          </ac:spMkLst>
        </pc:spChg>
      </pc:sldChg>
      <pc:sldChg chg="modSp mod">
        <pc:chgData name="Shelley Earl" userId="4951d46f-b647-4b3c-b822-5808962dcca8" providerId="ADAL" clId="{5F9A5095-15C7-4BF8-A3D7-9D6D94260068}" dt="2024-03-25T14:37:15.329" v="155" actId="20577"/>
        <pc:sldMkLst>
          <pc:docMk/>
          <pc:sldMk cId="3481431200" sldId="274"/>
        </pc:sldMkLst>
        <pc:spChg chg="mod">
          <ac:chgData name="Shelley Earl" userId="4951d46f-b647-4b3c-b822-5808962dcca8" providerId="ADAL" clId="{5F9A5095-15C7-4BF8-A3D7-9D6D94260068}" dt="2024-03-25T14:37:15.329" v="155" actId="20577"/>
          <ac:spMkLst>
            <pc:docMk/>
            <pc:sldMk cId="3481431200" sldId="274"/>
            <ac:spMk id="15" creationId="{A57ADB30-AA57-FF7E-1163-C8F0957A0B76}"/>
          </ac:spMkLst>
        </pc:spChg>
        <pc:graphicFrameChg chg="mod">
          <ac:chgData name="Shelley Earl" userId="4951d46f-b647-4b3c-b822-5808962dcca8" providerId="ADAL" clId="{5F9A5095-15C7-4BF8-A3D7-9D6D94260068}" dt="2024-03-25T14:36:32.112" v="142" actId="20577"/>
          <ac:graphicFrameMkLst>
            <pc:docMk/>
            <pc:sldMk cId="3481431200" sldId="274"/>
            <ac:graphicFrameMk id="11" creationId="{5C8EE2C3-03A6-ABAF-3E18-D116DCC72FC4}"/>
          </ac:graphicFrameMkLst>
        </pc:graphicFrameChg>
      </pc:sldChg>
      <pc:sldChg chg="modSp">
        <pc:chgData name="Shelley Earl" userId="4951d46f-b647-4b3c-b822-5808962dcca8" providerId="ADAL" clId="{5F9A5095-15C7-4BF8-A3D7-9D6D94260068}" dt="2024-03-25T14:39:19.046" v="306" actId="115"/>
        <pc:sldMkLst>
          <pc:docMk/>
          <pc:sldMk cId="829028075" sldId="275"/>
        </pc:sldMkLst>
        <pc:graphicFrameChg chg="mod">
          <ac:chgData name="Shelley Earl" userId="4951d46f-b647-4b3c-b822-5808962dcca8" providerId="ADAL" clId="{5F9A5095-15C7-4BF8-A3D7-9D6D94260068}" dt="2024-03-25T14:39:19.046" v="306" actId="115"/>
          <ac:graphicFrameMkLst>
            <pc:docMk/>
            <pc:sldMk cId="829028075" sldId="275"/>
            <ac:graphicFrameMk id="13" creationId="{A605F809-B93D-1529-EAB4-05210895DD47}"/>
          </ac:graphicFrameMkLst>
        </pc:graphicFrameChg>
      </pc:sldChg>
      <pc:sldChg chg="modSp mod">
        <pc:chgData name="Shelley Earl" userId="4951d46f-b647-4b3c-b822-5808962dcca8" providerId="ADAL" clId="{5F9A5095-15C7-4BF8-A3D7-9D6D94260068}" dt="2024-03-25T14:39:41.444" v="310" actId="20577"/>
        <pc:sldMkLst>
          <pc:docMk/>
          <pc:sldMk cId="639071407" sldId="276"/>
        </pc:sldMkLst>
        <pc:spChg chg="mod">
          <ac:chgData name="Shelley Earl" userId="4951d46f-b647-4b3c-b822-5808962dcca8" providerId="ADAL" clId="{5F9A5095-15C7-4BF8-A3D7-9D6D94260068}" dt="2024-03-25T14:39:41.444" v="310" actId="20577"/>
          <ac:spMkLst>
            <pc:docMk/>
            <pc:sldMk cId="639071407" sldId="276"/>
            <ac:spMk id="3" creationId="{D9823FF2-551E-7D6F-6CCD-EA59870F378E}"/>
          </ac:spMkLst>
        </pc:spChg>
      </pc:sldChg>
      <pc:sldChg chg="modSp mod">
        <pc:chgData name="Shelley Earl" userId="4951d46f-b647-4b3c-b822-5808962dcca8" providerId="ADAL" clId="{5F9A5095-15C7-4BF8-A3D7-9D6D94260068}" dt="2024-03-25T14:40:58.944" v="318" actId="6549"/>
        <pc:sldMkLst>
          <pc:docMk/>
          <pc:sldMk cId="4165849477" sldId="277"/>
        </pc:sldMkLst>
        <pc:spChg chg="mod">
          <ac:chgData name="Shelley Earl" userId="4951d46f-b647-4b3c-b822-5808962dcca8" providerId="ADAL" clId="{5F9A5095-15C7-4BF8-A3D7-9D6D94260068}" dt="2024-03-25T14:40:58.944" v="318" actId="6549"/>
          <ac:spMkLst>
            <pc:docMk/>
            <pc:sldMk cId="4165849477" sldId="277"/>
            <ac:spMk id="3" creationId="{800FB85F-FAA5-6EF4-2934-3E9F00A24524}"/>
          </ac:spMkLst>
        </pc:spChg>
      </pc:sldChg>
      <pc:sldChg chg="modSp mod">
        <pc:chgData name="Shelley Earl" userId="4951d46f-b647-4b3c-b822-5808962dcca8" providerId="ADAL" clId="{5F9A5095-15C7-4BF8-A3D7-9D6D94260068}" dt="2024-03-25T14:43:50.620" v="320" actId="1076"/>
        <pc:sldMkLst>
          <pc:docMk/>
          <pc:sldMk cId="969127443" sldId="278"/>
        </pc:sldMkLst>
        <pc:spChg chg="mod">
          <ac:chgData name="Shelley Earl" userId="4951d46f-b647-4b3c-b822-5808962dcca8" providerId="ADAL" clId="{5F9A5095-15C7-4BF8-A3D7-9D6D94260068}" dt="2024-03-25T14:43:50.620" v="320" actId="1076"/>
          <ac:spMkLst>
            <pc:docMk/>
            <pc:sldMk cId="969127443" sldId="278"/>
            <ac:spMk id="9" creationId="{72F99416-9CFC-4A6D-56C2-F38A9754D7B6}"/>
          </ac:spMkLst>
        </pc:spChg>
        <pc:graphicFrameChg chg="mod">
          <ac:chgData name="Shelley Earl" userId="4951d46f-b647-4b3c-b822-5808962dcca8" providerId="ADAL" clId="{5F9A5095-15C7-4BF8-A3D7-9D6D94260068}" dt="2024-03-25T14:42:49.488" v="319" actId="20577"/>
          <ac:graphicFrameMkLst>
            <pc:docMk/>
            <pc:sldMk cId="969127443" sldId="278"/>
            <ac:graphicFrameMk id="8" creationId="{25435880-DE83-4AE6-0C0C-E8BEDD12548D}"/>
          </ac:graphicFrameMkLst>
        </pc:graphicFrameChg>
      </pc:sldChg>
      <pc:sldChg chg="modSp">
        <pc:chgData name="Shelley Earl" userId="4951d46f-b647-4b3c-b822-5808962dcca8" providerId="ADAL" clId="{5F9A5095-15C7-4BF8-A3D7-9D6D94260068}" dt="2024-03-25T14:49:50.648" v="536" actId="20577"/>
        <pc:sldMkLst>
          <pc:docMk/>
          <pc:sldMk cId="4199026466" sldId="279"/>
        </pc:sldMkLst>
        <pc:spChg chg="mod">
          <ac:chgData name="Shelley Earl" userId="4951d46f-b647-4b3c-b822-5808962dcca8" providerId="ADAL" clId="{5F9A5095-15C7-4BF8-A3D7-9D6D94260068}" dt="2024-03-25T14:49:50.648" v="536" actId="20577"/>
          <ac:spMkLst>
            <pc:docMk/>
            <pc:sldMk cId="4199026466" sldId="279"/>
            <ac:spMk id="3" creationId="{7A675047-B99C-FF66-70F8-F831DAF17610}"/>
          </ac:spMkLst>
        </pc:spChg>
      </pc:sldChg>
      <pc:sldChg chg="modSp">
        <pc:chgData name="Shelley Earl" userId="4951d46f-b647-4b3c-b822-5808962dcca8" providerId="ADAL" clId="{5F9A5095-15C7-4BF8-A3D7-9D6D94260068}" dt="2024-03-25T14:51:44.613" v="544"/>
        <pc:sldMkLst>
          <pc:docMk/>
          <pc:sldMk cId="1794826995" sldId="280"/>
        </pc:sldMkLst>
        <pc:graphicFrameChg chg="mod">
          <ac:chgData name="Shelley Earl" userId="4951d46f-b647-4b3c-b822-5808962dcca8" providerId="ADAL" clId="{5F9A5095-15C7-4BF8-A3D7-9D6D94260068}" dt="2024-03-25T14:51:44.613" v="544"/>
          <ac:graphicFrameMkLst>
            <pc:docMk/>
            <pc:sldMk cId="1794826995" sldId="280"/>
            <ac:graphicFrameMk id="4" creationId="{F066EC6C-DCB6-3357-ABD4-0298BB5F32F6}"/>
          </ac:graphicFrameMkLst>
        </pc:graphicFrameChg>
      </pc:sldChg>
      <pc:sldChg chg="modSp mod">
        <pc:chgData name="Shelley Earl" userId="4951d46f-b647-4b3c-b822-5808962dcca8" providerId="ADAL" clId="{5F9A5095-15C7-4BF8-A3D7-9D6D94260068}" dt="2024-03-25T14:52:39.794" v="548" actId="6549"/>
        <pc:sldMkLst>
          <pc:docMk/>
          <pc:sldMk cId="981669481" sldId="282"/>
        </pc:sldMkLst>
        <pc:spChg chg="mod">
          <ac:chgData name="Shelley Earl" userId="4951d46f-b647-4b3c-b822-5808962dcca8" providerId="ADAL" clId="{5F9A5095-15C7-4BF8-A3D7-9D6D94260068}" dt="2024-03-25T14:52:39.794" v="548" actId="6549"/>
          <ac:spMkLst>
            <pc:docMk/>
            <pc:sldMk cId="981669481" sldId="282"/>
            <ac:spMk id="3" creationId="{1C66F432-C4F6-FCEE-F1EB-C13A0EC3264F}"/>
          </ac:spMkLst>
        </pc:spChg>
      </pc:sldChg>
      <pc:sldChg chg="modSp mod">
        <pc:chgData name="Shelley Earl" userId="4951d46f-b647-4b3c-b822-5808962dcca8" providerId="ADAL" clId="{5F9A5095-15C7-4BF8-A3D7-9D6D94260068}" dt="2024-03-25T14:54:22.122" v="607" actId="20577"/>
        <pc:sldMkLst>
          <pc:docMk/>
          <pc:sldMk cId="1411236543" sldId="283"/>
        </pc:sldMkLst>
        <pc:spChg chg="mod">
          <ac:chgData name="Shelley Earl" userId="4951d46f-b647-4b3c-b822-5808962dcca8" providerId="ADAL" clId="{5F9A5095-15C7-4BF8-A3D7-9D6D94260068}" dt="2024-03-25T14:54:22.122" v="607" actId="20577"/>
          <ac:spMkLst>
            <pc:docMk/>
            <pc:sldMk cId="1411236543" sldId="283"/>
            <ac:spMk id="9" creationId="{87FEABC1-0E2B-CA86-F809-3DA3A9B36182}"/>
          </ac:spMkLst>
        </pc:spChg>
      </pc:sldChg>
      <pc:sldChg chg="delSp modSp mod ord delAnim">
        <pc:chgData name="Shelley Earl" userId="4951d46f-b647-4b3c-b822-5808962dcca8" providerId="ADAL" clId="{5F9A5095-15C7-4BF8-A3D7-9D6D94260068}" dt="2024-03-25T15:03:37.909" v="696"/>
        <pc:sldMkLst>
          <pc:docMk/>
          <pc:sldMk cId="30537229" sldId="284"/>
        </pc:sldMkLst>
        <pc:spChg chg="mod">
          <ac:chgData name="Shelley Earl" userId="4951d46f-b647-4b3c-b822-5808962dcca8" providerId="ADAL" clId="{5F9A5095-15C7-4BF8-A3D7-9D6D94260068}" dt="2024-03-25T14:56:02.207" v="623" actId="20577"/>
          <ac:spMkLst>
            <pc:docMk/>
            <pc:sldMk cId="30537229" sldId="284"/>
            <ac:spMk id="2" creationId="{4BE1F89A-BFF8-A65E-BF48-AEE160C282E6}"/>
          </ac:spMkLst>
        </pc:spChg>
        <pc:spChg chg="mod">
          <ac:chgData name="Shelley Earl" userId="4951d46f-b647-4b3c-b822-5808962dcca8" providerId="ADAL" clId="{5F9A5095-15C7-4BF8-A3D7-9D6D94260068}" dt="2024-03-25T15:03:17.553" v="693" actId="6549"/>
          <ac:spMkLst>
            <pc:docMk/>
            <pc:sldMk cId="30537229" sldId="284"/>
            <ac:spMk id="3" creationId="{EE3BD1DC-4EC2-EFA1-8D3E-8824C4794976}"/>
          </ac:spMkLst>
        </pc:spChg>
        <pc:spChg chg="del">
          <ac:chgData name="Shelley Earl" userId="4951d46f-b647-4b3c-b822-5808962dcca8" providerId="ADAL" clId="{5F9A5095-15C7-4BF8-A3D7-9D6D94260068}" dt="2024-03-25T14:57:04.135" v="634" actId="478"/>
          <ac:spMkLst>
            <pc:docMk/>
            <pc:sldMk cId="30537229" sldId="284"/>
            <ac:spMk id="14" creationId="{321EC7B0-8C11-0E94-9273-7579EDAB8D65}"/>
          </ac:spMkLst>
        </pc:spChg>
        <pc:graphicFrameChg chg="mod">
          <ac:chgData name="Shelley Earl" userId="4951d46f-b647-4b3c-b822-5808962dcca8" providerId="ADAL" clId="{5F9A5095-15C7-4BF8-A3D7-9D6D94260068}" dt="2024-03-25T15:03:23.413" v="694" actId="1076"/>
          <ac:graphicFrameMkLst>
            <pc:docMk/>
            <pc:sldMk cId="30537229" sldId="284"/>
            <ac:graphicFrameMk id="4" creationId="{B3FD9947-2372-778F-84F0-D2FAEFF1D8DE}"/>
          </ac:graphicFrameMkLst>
        </pc:graphicFrameChg>
      </pc:sldChg>
      <pc:sldChg chg="modSp mod modAnim">
        <pc:chgData name="Shelley Earl" userId="4951d46f-b647-4b3c-b822-5808962dcca8" providerId="ADAL" clId="{5F9A5095-15C7-4BF8-A3D7-9D6D94260068}" dt="2024-03-25T15:01:31.443" v="680"/>
        <pc:sldMkLst>
          <pc:docMk/>
          <pc:sldMk cId="4282014508" sldId="285"/>
        </pc:sldMkLst>
        <pc:spChg chg="mod">
          <ac:chgData name="Shelley Earl" userId="4951d46f-b647-4b3c-b822-5808962dcca8" providerId="ADAL" clId="{5F9A5095-15C7-4BF8-A3D7-9D6D94260068}" dt="2024-03-25T14:59:09.152" v="644" actId="20577"/>
          <ac:spMkLst>
            <pc:docMk/>
            <pc:sldMk cId="4282014508" sldId="285"/>
            <ac:spMk id="8" creationId="{94E63CD8-53B4-AF1A-FBA4-05945FE997A1}"/>
          </ac:spMkLst>
        </pc:spChg>
        <pc:spChg chg="mod">
          <ac:chgData name="Shelley Earl" userId="4951d46f-b647-4b3c-b822-5808962dcca8" providerId="ADAL" clId="{5F9A5095-15C7-4BF8-A3D7-9D6D94260068}" dt="2024-03-25T15:01:14.846" v="679" actId="6549"/>
          <ac:spMkLst>
            <pc:docMk/>
            <pc:sldMk cId="4282014508" sldId="285"/>
            <ac:spMk id="9" creationId="{F525208C-D97C-1080-772A-E506B67C4128}"/>
          </ac:spMkLst>
        </pc:spChg>
      </pc:sldChg>
      <pc:sldChg chg="delSp modSp mod">
        <pc:chgData name="Shelley Earl" userId="4951d46f-b647-4b3c-b822-5808962dcca8" providerId="ADAL" clId="{5F9A5095-15C7-4BF8-A3D7-9D6D94260068}" dt="2024-03-25T15:02:40.717" v="692" actId="20577"/>
        <pc:sldMkLst>
          <pc:docMk/>
          <pc:sldMk cId="191158308" sldId="286"/>
        </pc:sldMkLst>
        <pc:spChg chg="mod">
          <ac:chgData name="Shelley Earl" userId="4951d46f-b647-4b3c-b822-5808962dcca8" providerId="ADAL" clId="{5F9A5095-15C7-4BF8-A3D7-9D6D94260068}" dt="2024-03-25T15:01:50.720" v="681" actId="20577"/>
          <ac:spMkLst>
            <pc:docMk/>
            <pc:sldMk cId="191158308" sldId="286"/>
            <ac:spMk id="2" creationId="{CEED5DCA-792C-6FB9-BAC9-D3F76F7F9593}"/>
          </ac:spMkLst>
        </pc:spChg>
        <pc:spChg chg="del">
          <ac:chgData name="Shelley Earl" userId="4951d46f-b647-4b3c-b822-5808962dcca8" providerId="ADAL" clId="{5F9A5095-15C7-4BF8-A3D7-9D6D94260068}" dt="2024-03-25T15:02:19.422" v="691" actId="478"/>
          <ac:spMkLst>
            <pc:docMk/>
            <pc:sldMk cId="191158308" sldId="286"/>
            <ac:spMk id="17" creationId="{BC8B5FDD-0F69-C5BD-08B5-438B99EB2666}"/>
          </ac:spMkLst>
        </pc:spChg>
        <pc:graphicFrameChg chg="mod">
          <ac:chgData name="Shelley Earl" userId="4951d46f-b647-4b3c-b822-5808962dcca8" providerId="ADAL" clId="{5F9A5095-15C7-4BF8-A3D7-9D6D94260068}" dt="2024-03-25T15:02:40.717" v="692" actId="20577"/>
          <ac:graphicFrameMkLst>
            <pc:docMk/>
            <pc:sldMk cId="191158308" sldId="286"/>
            <ac:graphicFrameMk id="18" creationId="{F2583A9D-281C-4C52-9347-26153EBC053D}"/>
          </ac:graphicFrameMkLst>
        </pc:graphicFrameChg>
      </pc:sldChg>
      <pc:sldChg chg="modSp mod">
        <pc:chgData name="Shelley Earl" userId="4951d46f-b647-4b3c-b822-5808962dcca8" providerId="ADAL" clId="{5F9A5095-15C7-4BF8-A3D7-9D6D94260068}" dt="2024-03-25T15:04:55.916" v="736" actId="20577"/>
        <pc:sldMkLst>
          <pc:docMk/>
          <pc:sldMk cId="561251587" sldId="287"/>
        </pc:sldMkLst>
        <pc:spChg chg="mod">
          <ac:chgData name="Shelley Earl" userId="4951d46f-b647-4b3c-b822-5808962dcca8" providerId="ADAL" clId="{5F9A5095-15C7-4BF8-A3D7-9D6D94260068}" dt="2024-03-25T15:04:55.916" v="736" actId="20577"/>
          <ac:spMkLst>
            <pc:docMk/>
            <pc:sldMk cId="561251587" sldId="287"/>
            <ac:spMk id="14" creationId="{A1FFE694-DF65-A7CA-A6CD-EE2D7965DCCB}"/>
          </ac:spMkLst>
        </pc:spChg>
      </pc:sldChg>
      <pc:sldChg chg="del">
        <pc:chgData name="Shelley Earl" userId="4951d46f-b647-4b3c-b822-5808962dcca8" providerId="ADAL" clId="{5F9A5095-15C7-4BF8-A3D7-9D6D94260068}" dt="2024-03-25T15:05:59.632" v="737" actId="47"/>
        <pc:sldMkLst>
          <pc:docMk/>
          <pc:sldMk cId="2347924938" sldId="289"/>
        </pc:sldMkLst>
      </pc:sldChg>
      <pc:sldChg chg="addSp delSp modSp mod">
        <pc:chgData name="Shelley Earl" userId="4951d46f-b647-4b3c-b822-5808962dcca8" providerId="ADAL" clId="{5F9A5095-15C7-4BF8-A3D7-9D6D94260068}" dt="2024-03-25T15:14:55.107" v="1077" actId="1076"/>
        <pc:sldMkLst>
          <pc:docMk/>
          <pc:sldMk cId="3114590533" sldId="290"/>
        </pc:sldMkLst>
        <pc:spChg chg="mod">
          <ac:chgData name="Shelley Earl" userId="4951d46f-b647-4b3c-b822-5808962dcca8" providerId="ADAL" clId="{5F9A5095-15C7-4BF8-A3D7-9D6D94260068}" dt="2024-03-25T15:13:03.647" v="915" actId="20577"/>
          <ac:spMkLst>
            <pc:docMk/>
            <pc:sldMk cId="3114590533" sldId="290"/>
            <ac:spMk id="2" creationId="{9D6A7B45-5B3C-3DB0-1BE4-A2E8E5DFB955}"/>
          </ac:spMkLst>
        </pc:spChg>
        <pc:spChg chg="add mod">
          <ac:chgData name="Shelley Earl" userId="4951d46f-b647-4b3c-b822-5808962dcca8" providerId="ADAL" clId="{5F9A5095-15C7-4BF8-A3D7-9D6D94260068}" dt="2024-03-25T15:14:48.487" v="1075" actId="1076"/>
          <ac:spMkLst>
            <pc:docMk/>
            <pc:sldMk cId="3114590533" sldId="290"/>
            <ac:spMk id="3" creationId="{698B0EE6-D2E3-A34A-D0E6-B7CFF8ADAFCF}"/>
          </ac:spMkLst>
        </pc:spChg>
        <pc:spChg chg="del">
          <ac:chgData name="Shelley Earl" userId="4951d46f-b647-4b3c-b822-5808962dcca8" providerId="ADAL" clId="{5F9A5095-15C7-4BF8-A3D7-9D6D94260068}" dt="2024-03-25T15:14:52.349" v="1076" actId="478"/>
          <ac:spMkLst>
            <pc:docMk/>
            <pc:sldMk cId="3114590533" sldId="290"/>
            <ac:spMk id="11" creationId="{F1E7C49D-168F-967C-A68B-1627AE233196}"/>
          </ac:spMkLst>
        </pc:spChg>
        <pc:graphicFrameChg chg="mod">
          <ac:chgData name="Shelley Earl" userId="4951d46f-b647-4b3c-b822-5808962dcca8" providerId="ADAL" clId="{5F9A5095-15C7-4BF8-A3D7-9D6D94260068}" dt="2024-03-25T15:14:55.107" v="1077" actId="1076"/>
          <ac:graphicFrameMkLst>
            <pc:docMk/>
            <pc:sldMk cId="3114590533" sldId="290"/>
            <ac:graphicFrameMk id="8" creationId="{A78DC15E-F928-C464-FBA0-36933CA4DB49}"/>
          </ac:graphicFrameMkLst>
        </pc:graphicFrameChg>
      </pc:sldChg>
      <pc:sldChg chg="modSp mod">
        <pc:chgData name="Shelley Earl" userId="4951d46f-b647-4b3c-b822-5808962dcca8" providerId="ADAL" clId="{5F9A5095-15C7-4BF8-A3D7-9D6D94260068}" dt="2024-03-25T15:15:31.877" v="1111" actId="20577"/>
        <pc:sldMkLst>
          <pc:docMk/>
          <pc:sldMk cId="894928972" sldId="291"/>
        </pc:sldMkLst>
        <pc:spChg chg="mod">
          <ac:chgData name="Shelley Earl" userId="4951d46f-b647-4b3c-b822-5808962dcca8" providerId="ADAL" clId="{5F9A5095-15C7-4BF8-A3D7-9D6D94260068}" dt="2024-03-25T15:15:31.877" v="1111" actId="20577"/>
          <ac:spMkLst>
            <pc:docMk/>
            <pc:sldMk cId="894928972" sldId="291"/>
            <ac:spMk id="3" creationId="{D6504A50-C316-495F-A22D-CFF6B8954D8D}"/>
          </ac:spMkLst>
        </pc:spChg>
      </pc:sldChg>
      <pc:sldChg chg="modSp mod">
        <pc:chgData name="Shelley Earl" userId="4951d46f-b647-4b3c-b822-5808962dcca8" providerId="ADAL" clId="{5F9A5095-15C7-4BF8-A3D7-9D6D94260068}" dt="2024-03-25T15:16:15.672" v="1140" actId="6549"/>
        <pc:sldMkLst>
          <pc:docMk/>
          <pc:sldMk cId="3790215164" sldId="293"/>
        </pc:sldMkLst>
        <pc:spChg chg="mod">
          <ac:chgData name="Shelley Earl" userId="4951d46f-b647-4b3c-b822-5808962dcca8" providerId="ADAL" clId="{5F9A5095-15C7-4BF8-A3D7-9D6D94260068}" dt="2024-03-25T15:16:15.672" v="1140" actId="6549"/>
          <ac:spMkLst>
            <pc:docMk/>
            <pc:sldMk cId="3790215164" sldId="293"/>
            <ac:spMk id="3" creationId="{2A8CED9B-3AA4-6657-52D7-A3AE595B4F07}"/>
          </ac:spMkLst>
        </pc:spChg>
      </pc:sldChg>
      <pc:sldChg chg="del">
        <pc:chgData name="Shelley Earl" userId="4951d46f-b647-4b3c-b822-5808962dcca8" providerId="ADAL" clId="{5F9A5095-15C7-4BF8-A3D7-9D6D94260068}" dt="2024-03-25T15:16:22.607" v="1141" actId="47"/>
        <pc:sldMkLst>
          <pc:docMk/>
          <pc:sldMk cId="1834208117" sldId="3126"/>
        </pc:sldMkLst>
      </pc:sldChg>
      <pc:sldChg chg="addSp delSp modSp new mod">
        <pc:chgData name="Shelley Earl" userId="4951d46f-b647-4b3c-b822-5808962dcca8" providerId="ADAL" clId="{5F9A5095-15C7-4BF8-A3D7-9D6D94260068}" dt="2024-03-25T15:12:28.427" v="901" actId="255"/>
        <pc:sldMkLst>
          <pc:docMk/>
          <pc:sldMk cId="3534279248" sldId="3127"/>
        </pc:sldMkLst>
        <pc:spChg chg="mod">
          <ac:chgData name="Shelley Earl" userId="4951d46f-b647-4b3c-b822-5808962dcca8" providerId="ADAL" clId="{5F9A5095-15C7-4BF8-A3D7-9D6D94260068}" dt="2024-03-25T15:08:42.113" v="772" actId="26606"/>
          <ac:spMkLst>
            <pc:docMk/>
            <pc:sldMk cId="3534279248" sldId="3127"/>
            <ac:spMk id="2" creationId="{73CB6B62-796B-C1D4-4763-5A20739A7519}"/>
          </ac:spMkLst>
        </pc:spChg>
        <pc:spChg chg="del">
          <ac:chgData name="Shelley Earl" userId="4951d46f-b647-4b3c-b822-5808962dcca8" providerId="ADAL" clId="{5F9A5095-15C7-4BF8-A3D7-9D6D94260068}" dt="2024-03-25T15:08:42.113" v="772" actId="26606"/>
          <ac:spMkLst>
            <pc:docMk/>
            <pc:sldMk cId="3534279248" sldId="3127"/>
            <ac:spMk id="3" creationId="{BAE13260-81AC-2050-58FE-5B34388EE05B}"/>
          </ac:spMkLst>
        </pc:spChg>
        <pc:spChg chg="del">
          <ac:chgData name="Shelley Earl" userId="4951d46f-b647-4b3c-b822-5808962dcca8" providerId="ADAL" clId="{5F9A5095-15C7-4BF8-A3D7-9D6D94260068}" dt="2024-03-25T15:08:26.438" v="771" actId="22"/>
          <ac:spMkLst>
            <pc:docMk/>
            <pc:sldMk cId="3534279248" sldId="3127"/>
            <ac:spMk id="4" creationId="{4BC82226-280B-AEB8-5190-C1A2D1758C9C}"/>
          </ac:spMkLst>
        </pc:spChg>
        <pc:spChg chg="add mod">
          <ac:chgData name="Shelley Earl" userId="4951d46f-b647-4b3c-b822-5808962dcca8" providerId="ADAL" clId="{5F9A5095-15C7-4BF8-A3D7-9D6D94260068}" dt="2024-03-25T15:12:28.427" v="901" actId="255"/>
          <ac:spMkLst>
            <pc:docMk/>
            <pc:sldMk cId="3534279248" sldId="3127"/>
            <ac:spMk id="11" creationId="{6C1BA9E3-9396-DBB5-8249-DC0FDEC133B2}"/>
          </ac:spMkLst>
        </pc:spChg>
        <pc:picChg chg="add mod ord">
          <ac:chgData name="Shelley Earl" userId="4951d46f-b647-4b3c-b822-5808962dcca8" providerId="ADAL" clId="{5F9A5095-15C7-4BF8-A3D7-9D6D94260068}" dt="2024-03-25T15:08:43.556" v="773" actId="27614"/>
          <ac:picMkLst>
            <pc:docMk/>
            <pc:sldMk cId="3534279248" sldId="3127"/>
            <ac:picMk id="6" creationId="{486A5F75-0C93-46BB-29E1-EEFA342C3D92}"/>
          </ac:picMkLst>
        </pc:picChg>
      </pc:sldChg>
    </pc:docChg>
  </pc:docChgLst>
  <pc:docChgLst>
    <pc:chgData name="Shelley Earl" userId="4951d46f-b647-4b3c-b822-5808962dcca8" providerId="ADAL" clId="{515B5154-AD68-40FA-B378-DB5327A2208C}"/>
    <pc:docChg chg="modSld">
      <pc:chgData name="Shelley Earl" userId="4951d46f-b647-4b3c-b822-5808962dcca8" providerId="ADAL" clId="{515B5154-AD68-40FA-B378-DB5327A2208C}" dt="2024-03-25T18:21:11.761" v="19" actId="1076"/>
      <pc:docMkLst>
        <pc:docMk/>
      </pc:docMkLst>
      <pc:sldChg chg="modSp">
        <pc:chgData name="Shelley Earl" userId="4951d46f-b647-4b3c-b822-5808962dcca8" providerId="ADAL" clId="{515B5154-AD68-40FA-B378-DB5327A2208C}" dt="2024-03-25T18:19:33.666" v="6" actId="27636"/>
        <pc:sldMkLst>
          <pc:docMk/>
          <pc:sldMk cId="526300358" sldId="266"/>
        </pc:sldMkLst>
        <pc:graphicFrameChg chg="mod">
          <ac:chgData name="Shelley Earl" userId="4951d46f-b647-4b3c-b822-5808962dcca8" providerId="ADAL" clId="{515B5154-AD68-40FA-B378-DB5327A2208C}" dt="2024-03-25T18:19:33.666" v="6" actId="27636"/>
          <ac:graphicFrameMkLst>
            <pc:docMk/>
            <pc:sldMk cId="526300358" sldId="266"/>
            <ac:graphicFrameMk id="10" creationId="{4F99A9FE-9AEF-F820-F65C-BE5BE15E8FB5}"/>
          </ac:graphicFrameMkLst>
        </pc:graphicFrameChg>
      </pc:sldChg>
      <pc:sldChg chg="modSp mod">
        <pc:chgData name="Shelley Earl" userId="4951d46f-b647-4b3c-b822-5808962dcca8" providerId="ADAL" clId="{515B5154-AD68-40FA-B378-DB5327A2208C}" dt="2024-03-25T18:20:15.536" v="11" actId="1076"/>
        <pc:sldMkLst>
          <pc:docMk/>
          <pc:sldMk cId="3481431200" sldId="274"/>
        </pc:sldMkLst>
        <pc:spChg chg="mod">
          <ac:chgData name="Shelley Earl" userId="4951d46f-b647-4b3c-b822-5808962dcca8" providerId="ADAL" clId="{515B5154-AD68-40FA-B378-DB5327A2208C}" dt="2024-03-25T18:20:04.289" v="9" actId="1076"/>
          <ac:spMkLst>
            <pc:docMk/>
            <pc:sldMk cId="3481431200" sldId="274"/>
            <ac:spMk id="12" creationId="{FC81ACA9-37AB-3848-2CFF-062B6FE76A28}"/>
          </ac:spMkLst>
        </pc:spChg>
        <pc:spChg chg="mod">
          <ac:chgData name="Shelley Earl" userId="4951d46f-b647-4b3c-b822-5808962dcca8" providerId="ADAL" clId="{515B5154-AD68-40FA-B378-DB5327A2208C}" dt="2024-03-25T18:20:15.536" v="11" actId="1076"/>
          <ac:spMkLst>
            <pc:docMk/>
            <pc:sldMk cId="3481431200" sldId="274"/>
            <ac:spMk id="13" creationId="{1A002978-A98E-CB9D-6EC7-7BD47016C50B}"/>
          </ac:spMkLst>
        </pc:spChg>
        <pc:spChg chg="mod">
          <ac:chgData name="Shelley Earl" userId="4951d46f-b647-4b3c-b822-5808962dcca8" providerId="ADAL" clId="{515B5154-AD68-40FA-B378-DB5327A2208C}" dt="2024-03-25T18:20:09.634" v="10" actId="255"/>
          <ac:spMkLst>
            <pc:docMk/>
            <pc:sldMk cId="3481431200" sldId="274"/>
            <ac:spMk id="15" creationId="{A57ADB30-AA57-FF7E-1163-C8F0957A0B76}"/>
          </ac:spMkLst>
        </pc:spChg>
      </pc:sldChg>
      <pc:sldChg chg="modSp">
        <pc:chgData name="Shelley Earl" userId="4951d46f-b647-4b3c-b822-5808962dcca8" providerId="ADAL" clId="{515B5154-AD68-40FA-B378-DB5327A2208C}" dt="2024-03-25T18:20:38.544" v="15" actId="255"/>
        <pc:sldMkLst>
          <pc:docMk/>
          <pc:sldMk cId="829028075" sldId="275"/>
        </pc:sldMkLst>
        <pc:graphicFrameChg chg="mod">
          <ac:chgData name="Shelley Earl" userId="4951d46f-b647-4b3c-b822-5808962dcca8" providerId="ADAL" clId="{515B5154-AD68-40FA-B378-DB5327A2208C}" dt="2024-03-25T18:20:38.544" v="15" actId="255"/>
          <ac:graphicFrameMkLst>
            <pc:docMk/>
            <pc:sldMk cId="829028075" sldId="275"/>
            <ac:graphicFrameMk id="13" creationId="{A605F809-B93D-1529-EAB4-05210895DD47}"/>
          </ac:graphicFrameMkLst>
        </pc:graphicFrameChg>
      </pc:sldChg>
      <pc:sldChg chg="modSp">
        <pc:chgData name="Shelley Earl" userId="4951d46f-b647-4b3c-b822-5808962dcca8" providerId="ADAL" clId="{515B5154-AD68-40FA-B378-DB5327A2208C}" dt="2024-03-25T18:20:59.048" v="18" actId="255"/>
        <pc:sldMkLst>
          <pc:docMk/>
          <pc:sldMk cId="969127443" sldId="278"/>
        </pc:sldMkLst>
        <pc:graphicFrameChg chg="mod">
          <ac:chgData name="Shelley Earl" userId="4951d46f-b647-4b3c-b822-5808962dcca8" providerId="ADAL" clId="{515B5154-AD68-40FA-B378-DB5327A2208C}" dt="2024-03-25T18:20:59.048" v="18" actId="255"/>
          <ac:graphicFrameMkLst>
            <pc:docMk/>
            <pc:sldMk cId="969127443" sldId="278"/>
            <ac:graphicFrameMk id="8" creationId="{25435880-DE83-4AE6-0C0C-E8BEDD12548D}"/>
          </ac:graphicFrameMkLst>
        </pc:graphicFrameChg>
      </pc:sldChg>
      <pc:sldChg chg="modSp mod">
        <pc:chgData name="Shelley Earl" userId="4951d46f-b647-4b3c-b822-5808962dcca8" providerId="ADAL" clId="{515B5154-AD68-40FA-B378-DB5327A2208C}" dt="2024-03-25T18:21:11.761" v="19" actId="1076"/>
        <pc:sldMkLst>
          <pc:docMk/>
          <pc:sldMk cId="1794826995" sldId="280"/>
        </pc:sldMkLst>
        <pc:spChg chg="mod">
          <ac:chgData name="Shelley Earl" userId="4951d46f-b647-4b3c-b822-5808962dcca8" providerId="ADAL" clId="{515B5154-AD68-40FA-B378-DB5327A2208C}" dt="2024-03-25T18:21:11.761" v="19" actId="1076"/>
          <ac:spMkLst>
            <pc:docMk/>
            <pc:sldMk cId="1794826995" sldId="280"/>
            <ac:spMk id="8" creationId="{A15DFE61-20E0-D5EC-D0CE-22F6BE2E082B}"/>
          </ac:spMkLst>
        </pc:spChg>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_rels/data12.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13.png"/><Relationship Id="rId7" Type="http://schemas.openxmlformats.org/officeDocument/2006/relationships/image" Target="../media/image33.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14.svg"/></Relationships>
</file>

<file path=ppt/diagrams/_rels/data13.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svg"/><Relationship Id="rId2" Type="http://schemas.openxmlformats.org/officeDocument/2006/relationships/image" Target="../media/image37.svg"/><Relationship Id="rId1" Type="http://schemas.openxmlformats.org/officeDocument/2006/relationships/image" Target="../media/image36.png"/><Relationship Id="rId6" Type="http://schemas.openxmlformats.org/officeDocument/2006/relationships/image" Target="../media/image41.sv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 Id="rId14" Type="http://schemas.openxmlformats.org/officeDocument/2006/relationships/image" Target="../media/image49.svg"/></Relationships>
</file>

<file path=ppt/diagrams/_rels/data9.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s>
</file>

<file path=ppt/diagrams/_rels/drawing1.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svg"/><Relationship Id="rId1" Type="http://schemas.openxmlformats.org/officeDocument/2006/relationships/image" Target="../media/image7.png"/><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svg"/></Relationships>
</file>

<file path=ppt/diagrams/_rels/drawing12.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image" Target="../media/image13.png"/><Relationship Id="rId7" Type="http://schemas.openxmlformats.org/officeDocument/2006/relationships/image" Target="../media/image33.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14.svg"/></Relationships>
</file>

<file path=ppt/diagrams/_rels/drawing13.xml.rels><?xml version="1.0" encoding="UTF-8" standalone="yes"?>
<Relationships xmlns="http://schemas.openxmlformats.org/package/2006/relationships"><Relationship Id="rId8" Type="http://schemas.openxmlformats.org/officeDocument/2006/relationships/image" Target="../media/image43.svg"/><Relationship Id="rId13" Type="http://schemas.openxmlformats.org/officeDocument/2006/relationships/image" Target="../media/image48.png"/><Relationship Id="rId3" Type="http://schemas.openxmlformats.org/officeDocument/2006/relationships/image" Target="../media/image38.png"/><Relationship Id="rId7" Type="http://schemas.openxmlformats.org/officeDocument/2006/relationships/image" Target="../media/image42.png"/><Relationship Id="rId12" Type="http://schemas.openxmlformats.org/officeDocument/2006/relationships/image" Target="../media/image47.svg"/><Relationship Id="rId2" Type="http://schemas.openxmlformats.org/officeDocument/2006/relationships/image" Target="../media/image37.svg"/><Relationship Id="rId1" Type="http://schemas.openxmlformats.org/officeDocument/2006/relationships/image" Target="../media/image36.png"/><Relationship Id="rId6" Type="http://schemas.openxmlformats.org/officeDocument/2006/relationships/image" Target="../media/image41.svg"/><Relationship Id="rId11" Type="http://schemas.openxmlformats.org/officeDocument/2006/relationships/image" Target="../media/image46.pn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 Id="rId14" Type="http://schemas.openxmlformats.org/officeDocument/2006/relationships/image" Target="../media/image49.svg"/></Relationships>
</file>

<file path=ppt/diagrams/_rels/drawing9.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2" Type="http://schemas.openxmlformats.org/officeDocument/2006/relationships/image" Target="../media/image16.svg"/><Relationship Id="rId1" Type="http://schemas.openxmlformats.org/officeDocument/2006/relationships/image" Target="../media/image15.png"/><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svg"/><Relationship Id="rId4" Type="http://schemas.openxmlformats.org/officeDocument/2006/relationships/image" Target="../media/image18.svg"/><Relationship Id="rId9" Type="http://schemas.openxmlformats.org/officeDocument/2006/relationships/image" Target="../media/image23.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3B1D878-DD47-4554-B918-FF8182C854DF}"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4872F20E-C901-4018-94B9-DA055639A969}" type="parTrans" cxnId="{6ECE51E0-BC9B-4A88-93C3-A2DC1D5B3C1C}">
      <dgm:prSet/>
      <dgm:spPr/>
      <dgm:t>
        <a:bodyPr/>
        <a:lstStyle/>
        <a:p>
          <a:endParaRPr lang="en-US"/>
        </a:p>
      </dgm:t>
    </dgm:pt>
    <dgm:pt modelId="{BD203190-B02D-4833-9639-64C6874E5D6E}">
      <dgm:prSet custT="1"/>
      <dgm:spPr>
        <a:noFill/>
        <a:ln>
          <a:noFill/>
        </a:ln>
      </dgm:spPr>
      <dgm:t>
        <a:bodyPr/>
        <a:lstStyle/>
        <a:p>
          <a:r>
            <a:rPr lang="de" sz="1900" b="0" i="0" strike="noStrike" cap="none" spc="0" baseline="0">
              <a:solidFill>
                <a:srgbClr val="000000"/>
              </a:solidFill>
              <a:effectLst/>
              <a:latin typeface="Calibri"/>
              <a:ea typeface="Calibri"/>
              <a:cs typeface="Calibri"/>
            </a:rPr>
            <a:t>Jeder möchte Teil eines Teams sein, das respektvoll und erfolgreich ist</a:t>
          </a:r>
          <a:endParaRPr lang="en-US"/>
        </a:p>
      </dgm:t>
    </dgm:pt>
    <dgm:pt modelId="{22737114-0C48-408A-9ADC-FBB5D68DA89B}" type="sibTrans" cxnId="{6ECE51E0-BC9B-4A88-93C3-A2DC1D5B3C1C}">
      <dgm:prSet/>
      <dgm:spPr/>
      <dgm:t>
        <a:bodyPr/>
        <a:lstStyle/>
        <a:p>
          <a:endParaRPr lang="en-US"/>
        </a:p>
      </dgm:t>
    </dgm:pt>
    <dgm:pt modelId="{3B489F43-81AC-47EA-B6F9-1A9F3623A6FD}" type="parTrans" cxnId="{49BDFEF5-B95A-4469-82D4-2349344A0FC1}">
      <dgm:prSet/>
      <dgm:spPr/>
      <dgm:t>
        <a:bodyPr/>
        <a:lstStyle/>
        <a:p>
          <a:endParaRPr lang="en-US"/>
        </a:p>
      </dgm:t>
    </dgm:pt>
    <dgm:pt modelId="{D5ADE06A-2CD8-4527-BB06-0919124DF32C}">
      <dgm:prSet custT="1"/>
      <dgm:spPr>
        <a:noFill/>
        <a:ln>
          <a:noFill/>
        </a:ln>
      </dgm:spPr>
      <dgm:t>
        <a:bodyPr/>
        <a:lstStyle/>
        <a:p>
          <a:r>
            <a:rPr lang="de" sz="1900" b="0" i="0" strike="noStrike" cap="none" spc="0" baseline="0">
              <a:solidFill>
                <a:srgbClr val="000000"/>
              </a:solidFill>
              <a:effectLst/>
              <a:latin typeface="Calibri"/>
              <a:ea typeface="Calibri"/>
              <a:cs typeface="Calibri"/>
            </a:rPr>
            <a:t>Der V&amp;E von 168 hält die Prinzipien der Verhinderung von Diskriminierung und Belästigung aufrecht, was das Engagement aller erfordert</a:t>
          </a:r>
          <a:endParaRPr lang="en-US"/>
        </a:p>
      </dgm:t>
    </dgm:pt>
    <dgm:pt modelId="{8031BCC7-8D90-4C42-9290-ACCDE5A0B9ED}" type="sibTrans" cxnId="{49BDFEF5-B95A-4469-82D4-2349344A0FC1}">
      <dgm:prSet/>
      <dgm:spPr/>
      <dgm:t>
        <a:bodyPr/>
        <a:lstStyle/>
        <a:p>
          <a:endParaRPr lang="en-US"/>
        </a:p>
      </dgm:t>
    </dgm:pt>
    <dgm:pt modelId="{2F0AF00D-06E6-440B-A672-A767CD8F0B53}" type="parTrans" cxnId="{E8C3CE44-B739-4270-BA70-2523C53D9C0A}">
      <dgm:prSet/>
      <dgm:spPr/>
      <dgm:t>
        <a:bodyPr/>
        <a:lstStyle/>
        <a:p>
          <a:endParaRPr lang="en-US"/>
        </a:p>
      </dgm:t>
    </dgm:pt>
    <dgm:pt modelId="{255A7C46-93F8-42B9-B3FF-C4120B6D6A85}">
      <dgm:prSet custT="1"/>
      <dgm:spPr>
        <a:noFill/>
        <a:ln>
          <a:noFill/>
        </a:ln>
      </dgm:spPr>
      <dgm:t>
        <a:bodyPr/>
        <a:lstStyle/>
        <a:p>
          <a:r>
            <a:rPr lang="de" sz="1900" b="0" i="0" strike="noStrike" cap="none" spc="0" baseline="0">
              <a:solidFill>
                <a:srgbClr val="000000"/>
              </a:solidFill>
              <a:effectLst/>
              <a:latin typeface="Calibri"/>
              <a:ea typeface="Calibri"/>
              <a:cs typeface="Calibri"/>
            </a:rPr>
            <a:t>RPM toleriert keine Respektlosigkeit, Belästigung oder Diskriminierung in irgendeiner Form</a:t>
          </a:r>
          <a:endParaRPr lang="en-US"/>
        </a:p>
      </dgm:t>
    </dgm:pt>
    <dgm:pt modelId="{14D5279D-3554-44D4-A185-DA900563E26D}" type="sibTrans" cxnId="{E8C3CE44-B739-4270-BA70-2523C53D9C0A}">
      <dgm:prSet/>
      <dgm:spPr/>
      <dgm:t>
        <a:bodyPr/>
        <a:lstStyle/>
        <a:p>
          <a:endParaRPr lang="en-US"/>
        </a:p>
      </dgm:t>
    </dgm:pt>
    <dgm:pt modelId="{72D0D968-80E7-4D31-AFB8-C5742C4FABDC}" type="parTrans" cxnId="{DE0289FD-E53B-42FA-9748-1210C27D3CFD}">
      <dgm:prSet/>
      <dgm:spPr/>
      <dgm:t>
        <a:bodyPr/>
        <a:lstStyle/>
        <a:p>
          <a:endParaRPr lang="en-US"/>
        </a:p>
      </dgm:t>
    </dgm:pt>
    <dgm:pt modelId="{D5DED7B9-AE0E-4022-87AC-013CCD84826A}">
      <dgm:prSet custT="1"/>
      <dgm:spPr>
        <a:noFill/>
        <a:ln>
          <a:noFill/>
        </a:ln>
      </dgm:spPr>
      <dgm:t>
        <a:bodyPr/>
        <a:lstStyle/>
        <a:p>
          <a:r>
            <a:rPr lang="de" sz="1900" b="0" i="0" strike="noStrike" cap="none" spc="0" baseline="0">
              <a:solidFill>
                <a:srgbClr val="000000"/>
              </a:solidFill>
              <a:effectLst/>
              <a:latin typeface="Calibri"/>
              <a:ea typeface="Calibri"/>
              <a:cs typeface="Calibri"/>
            </a:rPr>
            <a:t>Wir alle müssen sicherstellen, dass unser Verhalten die Werte von RPM widerspiegelt, und wir müssen Maßnahmen ergreifen, wenn wir unangemessenes Verhalten sehen</a:t>
          </a:r>
          <a:endParaRPr lang="en-US"/>
        </a:p>
      </dgm:t>
    </dgm:pt>
    <dgm:pt modelId="{CEBD3099-CB00-4B1F-9F22-D2CEB3D1037A}" type="sibTrans" cxnId="{DE0289FD-E53B-42FA-9748-1210C27D3CFD}">
      <dgm:prSet/>
      <dgm:spPr/>
      <dgm:t>
        <a:bodyPr/>
        <a:lstStyle/>
        <a:p>
          <a:endParaRPr lang="en-US"/>
        </a:p>
      </dgm:t>
    </dgm:pt>
    <dgm:pt modelId="{79A6C311-014C-4876-94E9-AC2AA0789466}" type="pres">
      <dgm:prSet presAssocID="{D3B1D878-DD47-4554-B918-FF8182C854DF}" presName="root" presStyleCnt="0">
        <dgm:presLayoutVars>
          <dgm:dir/>
          <dgm:resizeHandles val="exact"/>
        </dgm:presLayoutVars>
      </dgm:prSet>
      <dgm:spPr/>
    </dgm:pt>
    <dgm:pt modelId="{D1AC1FB3-8252-43F4-B1DF-E0B7B991C4ED}" type="pres">
      <dgm:prSet presAssocID="{BD203190-B02D-4833-9639-64C6874E5D6E}" presName="compNode" presStyleCnt="0"/>
      <dgm:spPr/>
    </dgm:pt>
    <dgm:pt modelId="{E5BCA4F3-8F30-418C-9B3B-9FAE6FBB2AFD}" type="pres">
      <dgm:prSet presAssocID="{BD203190-B02D-4833-9639-64C6874E5D6E}" presName="bgRect" presStyleLbl="bgShp" presStyleIdx="0" presStyleCnt="4"/>
      <dgm:spPr>
        <a:solidFill>
          <a:schemeClr val="accent2">
            <a:tint val="40000"/>
            <a:hueOff val="0"/>
            <a:satOff val="0"/>
            <a:lumOff val="0"/>
            <a:alphaOff val="0"/>
          </a:schemeClr>
        </a:solidFill>
        <a:ln>
          <a:noFill/>
        </a:ln>
      </dgm:spPr>
    </dgm:pt>
    <dgm:pt modelId="{0E1DE14D-271D-4E48-A734-F66D4AA6B04D}" type="pres">
      <dgm:prSet presAssocID="{BD203190-B02D-4833-9639-64C6874E5D6E}"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Group"/>
        </a:ext>
      </dgm:extLst>
    </dgm:pt>
    <dgm:pt modelId="{AF898DFF-833E-4969-A05C-28F864E3637F}" type="pres">
      <dgm:prSet presAssocID="{BD203190-B02D-4833-9639-64C6874E5D6E}" presName="spaceRect" presStyleCnt="0"/>
      <dgm:spPr/>
    </dgm:pt>
    <dgm:pt modelId="{10EBE8A2-D7D4-4676-91C2-0669EA92AE50}" type="pres">
      <dgm:prSet presAssocID="{BD203190-B02D-4833-9639-64C6874E5D6E}" presName="parTx" presStyleLbl="revTx" presStyleIdx="0" presStyleCnt="4">
        <dgm:presLayoutVars>
          <dgm:chMax val="0"/>
          <dgm:chPref val="0"/>
        </dgm:presLayoutVars>
      </dgm:prSet>
      <dgm:spPr/>
    </dgm:pt>
    <dgm:pt modelId="{AAB631DF-D1E9-4EBA-BFAB-61939DC8BDB1}" type="pres">
      <dgm:prSet presAssocID="{22737114-0C48-408A-9ADC-FBB5D68DA89B}" presName="sibTrans" presStyleCnt="0"/>
      <dgm:spPr/>
    </dgm:pt>
    <dgm:pt modelId="{9EA0C476-91E6-4714-919B-C91EBFC2EB4F}" type="pres">
      <dgm:prSet presAssocID="{D5ADE06A-2CD8-4527-BB06-0919124DF32C}" presName="compNode" presStyleCnt="0"/>
      <dgm:spPr/>
    </dgm:pt>
    <dgm:pt modelId="{62399D1D-6A37-4655-9B96-57525ECC5F52}" type="pres">
      <dgm:prSet presAssocID="{D5ADE06A-2CD8-4527-BB06-0919124DF32C}" presName="bgRect" presStyleLbl="bgShp" presStyleIdx="1" presStyleCnt="4"/>
      <dgm:spPr>
        <a:solidFill>
          <a:schemeClr val="accent2">
            <a:tint val="40000"/>
            <a:hueOff val="0"/>
            <a:satOff val="0"/>
            <a:lumOff val="0"/>
            <a:alphaOff val="0"/>
          </a:schemeClr>
        </a:solidFill>
        <a:ln>
          <a:noFill/>
        </a:ln>
      </dgm:spPr>
    </dgm:pt>
    <dgm:pt modelId="{581AAD55-36A6-40B9-B55F-EEF840079F1A}" type="pres">
      <dgm:prSet presAssocID="{D5ADE06A-2CD8-4527-BB06-0919124DF32C}"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Users"/>
        </a:ext>
      </dgm:extLst>
    </dgm:pt>
    <dgm:pt modelId="{221124F0-5250-4952-B025-754B2DEE029D}" type="pres">
      <dgm:prSet presAssocID="{D5ADE06A-2CD8-4527-BB06-0919124DF32C}" presName="spaceRect" presStyleCnt="0"/>
      <dgm:spPr/>
    </dgm:pt>
    <dgm:pt modelId="{F09238B2-9DB9-4BD7-8219-1D04AF10EADE}" type="pres">
      <dgm:prSet presAssocID="{D5ADE06A-2CD8-4527-BB06-0919124DF32C}" presName="parTx" presStyleLbl="revTx" presStyleIdx="1" presStyleCnt="4">
        <dgm:presLayoutVars>
          <dgm:chMax val="0"/>
          <dgm:chPref val="0"/>
        </dgm:presLayoutVars>
      </dgm:prSet>
      <dgm:spPr/>
    </dgm:pt>
    <dgm:pt modelId="{DC802BC5-1A91-4AF9-9ED1-02F8C352C88F}" type="pres">
      <dgm:prSet presAssocID="{8031BCC7-8D90-4C42-9290-ACCDE5A0B9ED}" presName="sibTrans" presStyleCnt="0"/>
      <dgm:spPr/>
    </dgm:pt>
    <dgm:pt modelId="{4F6FD4E0-2E33-4FE5-AB43-13249D436D2E}" type="pres">
      <dgm:prSet presAssocID="{255A7C46-93F8-42B9-B3FF-C4120B6D6A85}" presName="compNode" presStyleCnt="0"/>
      <dgm:spPr/>
    </dgm:pt>
    <dgm:pt modelId="{2194DC87-0EB3-47A9-A710-50B67ABE9595}" type="pres">
      <dgm:prSet presAssocID="{255A7C46-93F8-42B9-B3FF-C4120B6D6A85}" presName="bgRect" presStyleLbl="bgShp" presStyleIdx="2" presStyleCnt="4"/>
      <dgm:spPr>
        <a:solidFill>
          <a:schemeClr val="accent2">
            <a:tint val="40000"/>
            <a:hueOff val="0"/>
            <a:satOff val="0"/>
            <a:lumOff val="0"/>
            <a:alphaOff val="0"/>
          </a:schemeClr>
        </a:solidFill>
        <a:ln>
          <a:noFill/>
        </a:ln>
      </dgm:spPr>
    </dgm:pt>
    <dgm:pt modelId="{E7043F58-D2C7-4873-8DE7-E85D1568F29E}" type="pres">
      <dgm:prSet presAssocID="{255A7C46-93F8-42B9-B3FF-C4120B6D6A85}"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Earth Globe Americas"/>
        </a:ext>
      </dgm:extLst>
    </dgm:pt>
    <dgm:pt modelId="{E91F269F-E74E-44A5-B980-0F943959FF9F}" type="pres">
      <dgm:prSet presAssocID="{255A7C46-93F8-42B9-B3FF-C4120B6D6A85}" presName="spaceRect" presStyleCnt="0"/>
      <dgm:spPr/>
    </dgm:pt>
    <dgm:pt modelId="{E61693E8-D0B4-4833-BD20-F0400943806F}" type="pres">
      <dgm:prSet presAssocID="{255A7C46-93F8-42B9-B3FF-C4120B6D6A85}" presName="parTx" presStyleLbl="revTx" presStyleIdx="2" presStyleCnt="4">
        <dgm:presLayoutVars>
          <dgm:chMax val="0"/>
          <dgm:chPref val="0"/>
        </dgm:presLayoutVars>
      </dgm:prSet>
      <dgm:spPr/>
    </dgm:pt>
    <dgm:pt modelId="{84CA8B17-F245-4AD8-9D97-5A81F130C64C}" type="pres">
      <dgm:prSet presAssocID="{14D5279D-3554-44D4-A185-DA900563E26D}" presName="sibTrans" presStyleCnt="0"/>
      <dgm:spPr/>
    </dgm:pt>
    <dgm:pt modelId="{4DEF3117-8A5A-458D-881B-10B2ACCAB362}" type="pres">
      <dgm:prSet presAssocID="{D5DED7B9-AE0E-4022-87AC-013CCD84826A}" presName="compNode" presStyleCnt="0"/>
      <dgm:spPr/>
    </dgm:pt>
    <dgm:pt modelId="{AEF938DC-0277-4425-B5AA-B6E145ABDF3E}" type="pres">
      <dgm:prSet presAssocID="{D5DED7B9-AE0E-4022-87AC-013CCD84826A}" presName="bgRect" presStyleLbl="bgShp" presStyleIdx="3" presStyleCnt="4"/>
      <dgm:spPr>
        <a:solidFill>
          <a:schemeClr val="accent2">
            <a:tint val="40000"/>
            <a:hueOff val="0"/>
            <a:satOff val="0"/>
            <a:lumOff val="0"/>
            <a:alphaOff val="0"/>
          </a:schemeClr>
        </a:solidFill>
        <a:ln>
          <a:noFill/>
        </a:ln>
      </dgm:spPr>
    </dgm:pt>
    <dgm:pt modelId="{BE8DF815-E4EC-4C8B-89A3-02381B28C402}" type="pres">
      <dgm:prSet presAssocID="{D5DED7B9-AE0E-4022-87AC-013CCD84826A}"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Irritant"/>
        </a:ext>
      </dgm:extLst>
    </dgm:pt>
    <dgm:pt modelId="{EFBC4F42-3390-49A4-B52F-7A9440C85FC1}" type="pres">
      <dgm:prSet presAssocID="{D5DED7B9-AE0E-4022-87AC-013CCD84826A}" presName="spaceRect" presStyleCnt="0"/>
      <dgm:spPr/>
    </dgm:pt>
    <dgm:pt modelId="{24931F5D-5E16-4A87-A9D2-51F34F2AEE47}" type="pres">
      <dgm:prSet presAssocID="{D5DED7B9-AE0E-4022-87AC-013CCD84826A}" presName="parTx" presStyleLbl="revTx" presStyleIdx="3" presStyleCnt="4">
        <dgm:presLayoutVars>
          <dgm:chMax val="0"/>
          <dgm:chPref val="0"/>
        </dgm:presLayoutVars>
      </dgm:prSet>
      <dgm:spPr/>
    </dgm:pt>
  </dgm:ptLst>
  <dgm:cxnLst>
    <dgm:cxn modelId="{5DAF262F-AE31-48D4-B9CB-5BE49AC94B88}" type="presOf" srcId="{D3B1D878-DD47-4554-B918-FF8182C854DF}" destId="{79A6C311-014C-4876-94E9-AC2AA0789466}" srcOrd="0" destOrd="0" presId="urn:microsoft.com/office/officeart/2018/2/layout/IconVerticalSolidList"/>
    <dgm:cxn modelId="{F624873E-03F4-4442-B55C-DEF0D8471873}" type="presOf" srcId="{255A7C46-93F8-42B9-B3FF-C4120B6D6A85}" destId="{E61693E8-D0B4-4833-BD20-F0400943806F}" srcOrd="0" destOrd="0" presId="urn:microsoft.com/office/officeart/2018/2/layout/IconVerticalSolidList"/>
    <dgm:cxn modelId="{E8C3CE44-B739-4270-BA70-2523C53D9C0A}" srcId="{D3B1D878-DD47-4554-B918-FF8182C854DF}" destId="{255A7C46-93F8-42B9-B3FF-C4120B6D6A85}" srcOrd="2" destOrd="0" parTransId="{2F0AF00D-06E6-440B-A672-A767CD8F0B53}" sibTransId="{14D5279D-3554-44D4-A185-DA900563E26D}"/>
    <dgm:cxn modelId="{E94EE080-B5FF-460E-A56E-431F0A25CF97}" type="presOf" srcId="{D5DED7B9-AE0E-4022-87AC-013CCD84826A}" destId="{24931F5D-5E16-4A87-A9D2-51F34F2AEE47}" srcOrd="0" destOrd="0" presId="urn:microsoft.com/office/officeart/2018/2/layout/IconVerticalSolidList"/>
    <dgm:cxn modelId="{56B42AAF-D13A-4EEB-99CF-3BC85BE507D2}" type="presOf" srcId="{BD203190-B02D-4833-9639-64C6874E5D6E}" destId="{10EBE8A2-D7D4-4676-91C2-0669EA92AE50}" srcOrd="0" destOrd="0" presId="urn:microsoft.com/office/officeart/2018/2/layout/IconVerticalSolidList"/>
    <dgm:cxn modelId="{9493B1CA-9D85-49DF-80ED-E44EDB9320DE}" type="presOf" srcId="{D5ADE06A-2CD8-4527-BB06-0919124DF32C}" destId="{F09238B2-9DB9-4BD7-8219-1D04AF10EADE}" srcOrd="0" destOrd="0" presId="urn:microsoft.com/office/officeart/2018/2/layout/IconVerticalSolidList"/>
    <dgm:cxn modelId="{6ECE51E0-BC9B-4A88-93C3-A2DC1D5B3C1C}" srcId="{D3B1D878-DD47-4554-B918-FF8182C854DF}" destId="{BD203190-B02D-4833-9639-64C6874E5D6E}" srcOrd="0" destOrd="0" parTransId="{4872F20E-C901-4018-94B9-DA055639A969}" sibTransId="{22737114-0C48-408A-9ADC-FBB5D68DA89B}"/>
    <dgm:cxn modelId="{49BDFEF5-B95A-4469-82D4-2349344A0FC1}" srcId="{D3B1D878-DD47-4554-B918-FF8182C854DF}" destId="{D5ADE06A-2CD8-4527-BB06-0919124DF32C}" srcOrd="1" destOrd="0" parTransId="{3B489F43-81AC-47EA-B6F9-1A9F3623A6FD}" sibTransId="{8031BCC7-8D90-4C42-9290-ACCDE5A0B9ED}"/>
    <dgm:cxn modelId="{DE0289FD-E53B-42FA-9748-1210C27D3CFD}" srcId="{D3B1D878-DD47-4554-B918-FF8182C854DF}" destId="{D5DED7B9-AE0E-4022-87AC-013CCD84826A}" srcOrd="3" destOrd="0" parTransId="{72D0D968-80E7-4D31-AFB8-C5742C4FABDC}" sibTransId="{CEBD3099-CB00-4B1F-9F22-D2CEB3D1037A}"/>
    <dgm:cxn modelId="{68DBDE5C-F81D-46D5-ADAC-A213A001A768}" type="presParOf" srcId="{79A6C311-014C-4876-94E9-AC2AA0789466}" destId="{D1AC1FB3-8252-43F4-B1DF-E0B7B991C4ED}" srcOrd="0" destOrd="0" presId="urn:microsoft.com/office/officeart/2018/2/layout/IconVerticalSolidList"/>
    <dgm:cxn modelId="{8243D11A-DDF9-495E-81DE-CE60CD73120B}" type="presParOf" srcId="{D1AC1FB3-8252-43F4-B1DF-E0B7B991C4ED}" destId="{E5BCA4F3-8F30-418C-9B3B-9FAE6FBB2AFD}" srcOrd="0" destOrd="0" presId="urn:microsoft.com/office/officeart/2018/2/layout/IconVerticalSolidList"/>
    <dgm:cxn modelId="{AF854F10-09A0-473A-B22B-1A1EE9D55B05}" type="presParOf" srcId="{D1AC1FB3-8252-43F4-B1DF-E0B7B991C4ED}" destId="{0E1DE14D-271D-4E48-A734-F66D4AA6B04D}" srcOrd="1" destOrd="0" presId="urn:microsoft.com/office/officeart/2018/2/layout/IconVerticalSolidList"/>
    <dgm:cxn modelId="{905C4DE7-7C2D-46AC-A659-2F10E0D99744}" type="presParOf" srcId="{D1AC1FB3-8252-43F4-B1DF-E0B7B991C4ED}" destId="{AF898DFF-833E-4969-A05C-28F864E3637F}" srcOrd="2" destOrd="0" presId="urn:microsoft.com/office/officeart/2018/2/layout/IconVerticalSolidList"/>
    <dgm:cxn modelId="{7C2B274C-02DB-466F-90BB-CE4A506EAC16}" type="presParOf" srcId="{D1AC1FB3-8252-43F4-B1DF-E0B7B991C4ED}" destId="{10EBE8A2-D7D4-4676-91C2-0669EA92AE50}" srcOrd="3" destOrd="0" presId="urn:microsoft.com/office/officeart/2018/2/layout/IconVerticalSolidList"/>
    <dgm:cxn modelId="{30B0B605-A796-45C5-ACB3-91B6E53CDC2F}" type="presParOf" srcId="{79A6C311-014C-4876-94E9-AC2AA0789466}" destId="{AAB631DF-D1E9-4EBA-BFAB-61939DC8BDB1}" srcOrd="1" destOrd="0" presId="urn:microsoft.com/office/officeart/2018/2/layout/IconVerticalSolidList"/>
    <dgm:cxn modelId="{5A0C2F31-EBD5-40E0-BBD5-E1F744C73647}" type="presParOf" srcId="{79A6C311-014C-4876-94E9-AC2AA0789466}" destId="{9EA0C476-91E6-4714-919B-C91EBFC2EB4F}" srcOrd="2" destOrd="0" presId="urn:microsoft.com/office/officeart/2018/2/layout/IconVerticalSolidList"/>
    <dgm:cxn modelId="{49880E2E-FE39-4C67-A298-378836BD0875}" type="presParOf" srcId="{9EA0C476-91E6-4714-919B-C91EBFC2EB4F}" destId="{62399D1D-6A37-4655-9B96-57525ECC5F52}" srcOrd="0" destOrd="0" presId="urn:microsoft.com/office/officeart/2018/2/layout/IconVerticalSolidList"/>
    <dgm:cxn modelId="{9621EDE7-9FEF-4F46-8AC9-EA6BD676449D}" type="presParOf" srcId="{9EA0C476-91E6-4714-919B-C91EBFC2EB4F}" destId="{581AAD55-36A6-40B9-B55F-EEF840079F1A}" srcOrd="1" destOrd="0" presId="urn:microsoft.com/office/officeart/2018/2/layout/IconVerticalSolidList"/>
    <dgm:cxn modelId="{3E1F39D5-0873-4E19-94AD-4EBD4C345CF3}" type="presParOf" srcId="{9EA0C476-91E6-4714-919B-C91EBFC2EB4F}" destId="{221124F0-5250-4952-B025-754B2DEE029D}" srcOrd="2" destOrd="0" presId="urn:microsoft.com/office/officeart/2018/2/layout/IconVerticalSolidList"/>
    <dgm:cxn modelId="{6B60C9B0-EC2B-46E2-9043-1E4089F8338C}" type="presParOf" srcId="{9EA0C476-91E6-4714-919B-C91EBFC2EB4F}" destId="{F09238B2-9DB9-4BD7-8219-1D04AF10EADE}" srcOrd="3" destOrd="0" presId="urn:microsoft.com/office/officeart/2018/2/layout/IconVerticalSolidList"/>
    <dgm:cxn modelId="{03C99583-D246-4161-8A6D-EF84C19F8EC1}" type="presParOf" srcId="{79A6C311-014C-4876-94E9-AC2AA0789466}" destId="{DC802BC5-1A91-4AF9-9ED1-02F8C352C88F}" srcOrd="3" destOrd="0" presId="urn:microsoft.com/office/officeart/2018/2/layout/IconVerticalSolidList"/>
    <dgm:cxn modelId="{8FB8ABE2-8FC7-443B-9F1E-BBD3A3FC5558}" type="presParOf" srcId="{79A6C311-014C-4876-94E9-AC2AA0789466}" destId="{4F6FD4E0-2E33-4FE5-AB43-13249D436D2E}" srcOrd="4" destOrd="0" presId="urn:microsoft.com/office/officeart/2018/2/layout/IconVerticalSolidList"/>
    <dgm:cxn modelId="{E23C4D4B-9257-4462-A905-474FE18C7E7D}" type="presParOf" srcId="{4F6FD4E0-2E33-4FE5-AB43-13249D436D2E}" destId="{2194DC87-0EB3-47A9-A710-50B67ABE9595}" srcOrd="0" destOrd="0" presId="urn:microsoft.com/office/officeart/2018/2/layout/IconVerticalSolidList"/>
    <dgm:cxn modelId="{7A7E2436-4B55-47CA-B82F-EA2E8F2752ED}" type="presParOf" srcId="{4F6FD4E0-2E33-4FE5-AB43-13249D436D2E}" destId="{E7043F58-D2C7-4873-8DE7-E85D1568F29E}" srcOrd="1" destOrd="0" presId="urn:microsoft.com/office/officeart/2018/2/layout/IconVerticalSolidList"/>
    <dgm:cxn modelId="{2E823F0E-0A43-47EA-B787-A7E0B09BE9F1}" type="presParOf" srcId="{4F6FD4E0-2E33-4FE5-AB43-13249D436D2E}" destId="{E91F269F-E74E-44A5-B980-0F943959FF9F}" srcOrd="2" destOrd="0" presId="urn:microsoft.com/office/officeart/2018/2/layout/IconVerticalSolidList"/>
    <dgm:cxn modelId="{BC1C5B82-53D6-4173-90B9-E10DA764BE39}" type="presParOf" srcId="{4F6FD4E0-2E33-4FE5-AB43-13249D436D2E}" destId="{E61693E8-D0B4-4833-BD20-F0400943806F}" srcOrd="3" destOrd="0" presId="urn:microsoft.com/office/officeart/2018/2/layout/IconVerticalSolidList"/>
    <dgm:cxn modelId="{34582D7D-AA6B-4C20-AB1E-99A945EE8D2B}" type="presParOf" srcId="{79A6C311-014C-4876-94E9-AC2AA0789466}" destId="{84CA8B17-F245-4AD8-9D97-5A81F130C64C}" srcOrd="5" destOrd="0" presId="urn:microsoft.com/office/officeart/2018/2/layout/IconVerticalSolidList"/>
    <dgm:cxn modelId="{6EE9FF6B-117F-44AD-ACEB-D3E70C633B1D}" type="presParOf" srcId="{79A6C311-014C-4876-94E9-AC2AA0789466}" destId="{4DEF3117-8A5A-458D-881B-10B2ACCAB362}" srcOrd="6" destOrd="0" presId="urn:microsoft.com/office/officeart/2018/2/layout/IconVerticalSolidList"/>
    <dgm:cxn modelId="{5A80FAB3-9FE9-4243-9825-997CC7AEC72C}" type="presParOf" srcId="{4DEF3117-8A5A-458D-881B-10B2ACCAB362}" destId="{AEF938DC-0277-4425-B5AA-B6E145ABDF3E}" srcOrd="0" destOrd="0" presId="urn:microsoft.com/office/officeart/2018/2/layout/IconVerticalSolidList"/>
    <dgm:cxn modelId="{97DFA4EE-C5E0-4EA4-B578-04A6FD5FB650}" type="presParOf" srcId="{4DEF3117-8A5A-458D-881B-10B2ACCAB362}" destId="{BE8DF815-E4EC-4C8B-89A3-02381B28C402}" srcOrd="1" destOrd="0" presId="urn:microsoft.com/office/officeart/2018/2/layout/IconVerticalSolidList"/>
    <dgm:cxn modelId="{B209294E-68D8-4385-8F63-102E5EDE0E18}" type="presParOf" srcId="{4DEF3117-8A5A-458D-881B-10B2ACCAB362}" destId="{EFBC4F42-3390-49A4-B52F-7A9440C85FC1}" srcOrd="2" destOrd="0" presId="urn:microsoft.com/office/officeart/2018/2/layout/IconVerticalSolidList"/>
    <dgm:cxn modelId="{26F7751F-C8AE-4427-ADC4-94AB786D07BF}" type="presParOf" srcId="{4DEF3117-8A5A-458D-881B-10B2ACCAB362}" destId="{24931F5D-5E16-4A87-A9D2-51F34F2AEE47}"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10.xml><?xml version="1.0" encoding="utf-8"?>
<dgm:dataModel xmlns:dgm="http://schemas.openxmlformats.org/drawingml/2006/diagram" xmlns:a="http://schemas.openxmlformats.org/drawingml/2006/main">
  <dgm:ptLst>
    <dgm:pt modelId="{ED7DFDA6-E816-47B2-9567-C5BB0EEB594A}"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ED59F25E-8D6B-4DDC-88B3-DDA63EF0643B}" type="parTrans" cxnId="{B1D51096-D798-4BA8-864E-9B5B532C474F}">
      <dgm:prSet/>
      <dgm:spPr/>
      <dgm:t>
        <a:bodyPr/>
        <a:lstStyle/>
        <a:p>
          <a:endParaRPr lang="en-US"/>
        </a:p>
      </dgm:t>
    </dgm:pt>
    <dgm:pt modelId="{04AB9A4F-D9FE-47DA-8246-2A78DFA5655C}">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2500" b="0" i="0" strike="noStrike" cap="none" spc="0" baseline="0">
              <a:solidFill>
                <a:srgbClr val="FFFFFF"/>
              </a:solidFill>
              <a:effectLst/>
              <a:latin typeface="Calibri"/>
              <a:ea typeface="Calibri"/>
              <a:cs typeface="Calibri"/>
            </a:rPr>
            <a:t>Verursacht Ihr Verhalten Unbehagen oder führt es zu unnötigen Konflikten?</a:t>
          </a:r>
          <a:endParaRPr lang="en-US"/>
        </a:p>
      </dgm:t>
    </dgm:pt>
    <dgm:pt modelId="{EF4C7FAD-6507-4D93-A5CA-31A3D9E541FB}" type="sibTrans" cxnId="{B1D51096-D798-4BA8-864E-9B5B532C474F}">
      <dgm:prSet/>
      <dgm:spPr/>
      <dgm:t>
        <a:bodyPr/>
        <a:lstStyle/>
        <a:p>
          <a:endParaRPr lang="en-US"/>
        </a:p>
      </dgm:t>
    </dgm:pt>
    <dgm:pt modelId="{B4F0A06B-6C5B-49F8-8386-5178C2202F1F}" type="parTrans" cxnId="{464E9181-28B7-4C2E-992B-ED9A7F47D6EB}">
      <dgm:prSet/>
      <dgm:spPr/>
      <dgm:t>
        <a:bodyPr/>
        <a:lstStyle/>
        <a:p>
          <a:endParaRPr lang="en-US"/>
        </a:p>
      </dgm:t>
    </dgm:pt>
    <dgm:pt modelId="{E36DD077-4630-49D3-894A-E54327E79495}">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2500" b="0" i="0" strike="noStrike" cap="none" spc="0" baseline="0">
              <a:solidFill>
                <a:srgbClr val="FFFFFF"/>
              </a:solidFill>
              <a:effectLst/>
              <a:latin typeface="Calibri"/>
              <a:ea typeface="Calibri"/>
              <a:cs typeface="Calibri"/>
            </a:rPr>
            <a:t>Wären Sie peinlich, wenn Ihre Freunde, Familie oder Gemeindeleiter von Ihrem Verhalten erfahren würden?</a:t>
          </a:r>
          <a:endParaRPr lang="en-US"/>
        </a:p>
      </dgm:t>
    </dgm:pt>
    <dgm:pt modelId="{37C34F6D-8763-4626-85D8-27B76A047C36}" type="sibTrans" cxnId="{464E9181-28B7-4C2E-992B-ED9A7F47D6EB}">
      <dgm:prSet/>
      <dgm:spPr/>
      <dgm:t>
        <a:bodyPr/>
        <a:lstStyle/>
        <a:p>
          <a:endParaRPr lang="en-US"/>
        </a:p>
      </dgm:t>
    </dgm:pt>
    <dgm:pt modelId="{36E166FB-1D32-4380-849D-9E46BEC66E4B}" type="parTrans" cxnId="{46A67C47-EEFD-4A5B-B144-73B0EE2F9646}">
      <dgm:prSet/>
      <dgm:spPr/>
      <dgm:t>
        <a:bodyPr/>
        <a:lstStyle/>
        <a:p>
          <a:endParaRPr lang="en-US"/>
        </a:p>
      </dgm:t>
    </dgm:pt>
    <dgm:pt modelId="{22A170D8-7824-4DB9-A761-E3407BE28B42}">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2500" b="0" i="0" strike="noStrike" cap="none" spc="0" baseline="0">
              <a:solidFill>
                <a:srgbClr val="FFFFFF"/>
              </a:solidFill>
              <a:effectLst/>
              <a:latin typeface="Calibri"/>
              <a:ea typeface="Calibri"/>
              <a:cs typeface="Calibri"/>
            </a:rPr>
            <a:t>Ist Ihr Verhalten für Ihre Arbeit oder Leistung relevant oder notwendig?</a:t>
          </a:r>
          <a:endParaRPr lang="en-US"/>
        </a:p>
      </dgm:t>
    </dgm:pt>
    <dgm:pt modelId="{4452BAC6-2866-4B98-816A-4BB16706752C}" type="sibTrans" cxnId="{46A67C47-EEFD-4A5B-B144-73B0EE2F9646}">
      <dgm:prSet/>
      <dgm:spPr/>
      <dgm:t>
        <a:bodyPr/>
        <a:lstStyle/>
        <a:p>
          <a:endParaRPr lang="en-US"/>
        </a:p>
      </dgm:t>
    </dgm:pt>
    <dgm:pt modelId="{763C86D9-2FBC-451F-807E-0D6E3FC96AC4}" type="parTrans" cxnId="{957C4592-1D7A-4A3B-95BA-3F220B90F4B2}">
      <dgm:prSet/>
      <dgm:spPr/>
      <dgm:t>
        <a:bodyPr/>
        <a:lstStyle/>
        <a:p>
          <a:endParaRPr lang="en-US"/>
        </a:p>
      </dgm:t>
    </dgm:pt>
    <dgm:pt modelId="{99AECD81-A579-436B-B436-13B4FBC1CBD3}">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2500" b="0" i="0" strike="noStrike" cap="none" spc="0" baseline="0">
              <a:solidFill>
                <a:srgbClr val="FFFFFF"/>
              </a:solidFill>
              <a:effectLst/>
              <a:latin typeface="Calibri"/>
              <a:ea typeface="Calibri"/>
              <a:cs typeface="Calibri"/>
            </a:rPr>
            <a:t>Wenn Sie eine dieser Fragen mit Ja beantworten, überlegen Sie, ob das, was Sie tun oder sagen, angemessen ist.</a:t>
          </a:r>
          <a:endParaRPr lang="en-US"/>
        </a:p>
      </dgm:t>
    </dgm:pt>
    <dgm:pt modelId="{16B654AB-35BC-4062-8FB9-A021A4EDF7E1}" type="sibTrans" cxnId="{957C4592-1D7A-4A3B-95BA-3F220B90F4B2}">
      <dgm:prSet/>
      <dgm:spPr/>
      <dgm:t>
        <a:bodyPr/>
        <a:lstStyle/>
        <a:p>
          <a:endParaRPr lang="en-US"/>
        </a:p>
      </dgm:t>
    </dgm:pt>
    <dgm:pt modelId="{0F90807F-9B06-41A3-9F46-0A44E44457E4}" type="pres">
      <dgm:prSet presAssocID="{ED7DFDA6-E816-47B2-9567-C5BB0EEB594A}" presName="diagram" presStyleCnt="0">
        <dgm:presLayoutVars>
          <dgm:dir/>
          <dgm:resizeHandles val="exact"/>
        </dgm:presLayoutVars>
      </dgm:prSet>
      <dgm:spPr/>
    </dgm:pt>
    <dgm:pt modelId="{6DF8FA57-199B-4FDE-9C3F-99E925313025}" type="pres">
      <dgm:prSet presAssocID="{04AB9A4F-D9FE-47DA-8246-2A78DFA5655C}" presName="node" presStyleLbl="node1" presStyleIdx="0" presStyleCnt="4">
        <dgm:presLayoutVars>
          <dgm:bulletEnabled val="1"/>
        </dgm:presLayoutVars>
      </dgm:prSet>
      <dgm:spPr/>
    </dgm:pt>
    <dgm:pt modelId="{C8248DB2-9292-4124-B95E-ED8B9287618C}" type="pres">
      <dgm:prSet presAssocID="{EF4C7FAD-6507-4D93-A5CA-31A3D9E541FB}" presName="sibTrans" presStyleCnt="0"/>
      <dgm:spPr/>
    </dgm:pt>
    <dgm:pt modelId="{8E972E1B-CF68-4A49-915B-097B6B17B149}" type="pres">
      <dgm:prSet presAssocID="{E36DD077-4630-49D3-894A-E54327E79495}" presName="node" presStyleLbl="node1" presStyleIdx="1" presStyleCnt="4">
        <dgm:presLayoutVars>
          <dgm:bulletEnabled val="1"/>
        </dgm:presLayoutVars>
      </dgm:prSet>
      <dgm:spPr/>
    </dgm:pt>
    <dgm:pt modelId="{A072F57F-2EA5-41A1-9F6E-0A889D4B4517}" type="pres">
      <dgm:prSet presAssocID="{37C34F6D-8763-4626-85D8-27B76A047C36}" presName="sibTrans" presStyleCnt="0"/>
      <dgm:spPr/>
    </dgm:pt>
    <dgm:pt modelId="{243CC102-BC16-4CF6-99B1-D3653BCF54DD}" type="pres">
      <dgm:prSet presAssocID="{22A170D8-7824-4DB9-A761-E3407BE28B42}" presName="node" presStyleLbl="node1" presStyleIdx="2" presStyleCnt="4">
        <dgm:presLayoutVars>
          <dgm:bulletEnabled val="1"/>
        </dgm:presLayoutVars>
      </dgm:prSet>
      <dgm:spPr/>
    </dgm:pt>
    <dgm:pt modelId="{3444DF13-928C-4745-AA5A-98EC000EA8C8}" type="pres">
      <dgm:prSet presAssocID="{4452BAC6-2866-4B98-816A-4BB16706752C}" presName="sibTrans" presStyleCnt="0"/>
      <dgm:spPr/>
    </dgm:pt>
    <dgm:pt modelId="{3345AED3-E8AE-40AD-B56E-281783EF31F5}" type="pres">
      <dgm:prSet presAssocID="{99AECD81-A579-436B-B436-13B4FBC1CBD3}" presName="node" presStyleLbl="node1" presStyleIdx="3" presStyleCnt="4">
        <dgm:presLayoutVars>
          <dgm:bulletEnabled val="1"/>
        </dgm:presLayoutVars>
      </dgm:prSet>
      <dgm:spPr/>
    </dgm:pt>
  </dgm:ptLst>
  <dgm:cxnLst>
    <dgm:cxn modelId="{4D35C12A-8C7F-4F38-B547-E032C72DF55A}" type="presOf" srcId="{04AB9A4F-D9FE-47DA-8246-2A78DFA5655C}" destId="{6DF8FA57-199B-4FDE-9C3F-99E925313025}" srcOrd="0" destOrd="0" presId="urn:microsoft.com/office/officeart/2005/8/layout/default"/>
    <dgm:cxn modelId="{46A67C47-EEFD-4A5B-B144-73B0EE2F9646}" srcId="{ED7DFDA6-E816-47B2-9567-C5BB0EEB594A}" destId="{22A170D8-7824-4DB9-A761-E3407BE28B42}" srcOrd="2" destOrd="0" parTransId="{36E166FB-1D32-4380-849D-9E46BEC66E4B}" sibTransId="{4452BAC6-2866-4B98-816A-4BB16706752C}"/>
    <dgm:cxn modelId="{464E9181-28B7-4C2E-992B-ED9A7F47D6EB}" srcId="{ED7DFDA6-E816-47B2-9567-C5BB0EEB594A}" destId="{E36DD077-4630-49D3-894A-E54327E79495}" srcOrd="1" destOrd="0" parTransId="{B4F0A06B-6C5B-49F8-8386-5178C2202F1F}" sibTransId="{37C34F6D-8763-4626-85D8-27B76A047C36}"/>
    <dgm:cxn modelId="{957C4592-1D7A-4A3B-95BA-3F220B90F4B2}" srcId="{ED7DFDA6-E816-47B2-9567-C5BB0EEB594A}" destId="{99AECD81-A579-436B-B436-13B4FBC1CBD3}" srcOrd="3" destOrd="0" parTransId="{763C86D9-2FBC-451F-807E-0D6E3FC96AC4}" sibTransId="{16B654AB-35BC-4062-8FB9-A021A4EDF7E1}"/>
    <dgm:cxn modelId="{B1D51096-D798-4BA8-864E-9B5B532C474F}" srcId="{ED7DFDA6-E816-47B2-9567-C5BB0EEB594A}" destId="{04AB9A4F-D9FE-47DA-8246-2A78DFA5655C}" srcOrd="0" destOrd="0" parTransId="{ED59F25E-8D6B-4DDC-88B3-DDA63EF0643B}" sibTransId="{EF4C7FAD-6507-4D93-A5CA-31A3D9E541FB}"/>
    <dgm:cxn modelId="{12F20F9B-2792-46AD-AAA6-9D44D8792F6A}" type="presOf" srcId="{ED7DFDA6-E816-47B2-9567-C5BB0EEB594A}" destId="{0F90807F-9B06-41A3-9F46-0A44E44457E4}" srcOrd="0" destOrd="0" presId="urn:microsoft.com/office/officeart/2005/8/layout/default"/>
    <dgm:cxn modelId="{65D696DF-D0EE-4C0A-B72F-C090BB2BF50C}" type="presOf" srcId="{22A170D8-7824-4DB9-A761-E3407BE28B42}" destId="{243CC102-BC16-4CF6-99B1-D3653BCF54DD}" srcOrd="0" destOrd="0" presId="urn:microsoft.com/office/officeart/2005/8/layout/default"/>
    <dgm:cxn modelId="{03C4F5E7-9E2C-4B67-A0D3-71D52B4043C5}" type="presOf" srcId="{E36DD077-4630-49D3-894A-E54327E79495}" destId="{8E972E1B-CF68-4A49-915B-097B6B17B149}" srcOrd="0" destOrd="0" presId="urn:microsoft.com/office/officeart/2005/8/layout/default"/>
    <dgm:cxn modelId="{23B465F0-4790-4A3F-9C03-E1C25817E656}" type="presOf" srcId="{99AECD81-A579-436B-B436-13B4FBC1CBD3}" destId="{3345AED3-E8AE-40AD-B56E-281783EF31F5}" srcOrd="0" destOrd="0" presId="urn:microsoft.com/office/officeart/2005/8/layout/default"/>
    <dgm:cxn modelId="{56143D8F-33A6-4D41-9339-231C1F692FF0}" type="presParOf" srcId="{0F90807F-9B06-41A3-9F46-0A44E44457E4}" destId="{6DF8FA57-199B-4FDE-9C3F-99E925313025}" srcOrd="0" destOrd="0" presId="urn:microsoft.com/office/officeart/2005/8/layout/default"/>
    <dgm:cxn modelId="{6D011359-9146-44EA-8D27-F539ADF588E0}" type="presParOf" srcId="{0F90807F-9B06-41A3-9F46-0A44E44457E4}" destId="{C8248DB2-9292-4124-B95E-ED8B9287618C}" srcOrd="1" destOrd="0" presId="urn:microsoft.com/office/officeart/2005/8/layout/default"/>
    <dgm:cxn modelId="{E31FE91F-1D66-4729-9C5D-8416E84E5015}" type="presParOf" srcId="{0F90807F-9B06-41A3-9F46-0A44E44457E4}" destId="{8E972E1B-CF68-4A49-915B-097B6B17B149}" srcOrd="2" destOrd="0" presId="urn:microsoft.com/office/officeart/2005/8/layout/default"/>
    <dgm:cxn modelId="{46B43848-FF25-4CDB-BAFE-7D6551033DE8}" type="presParOf" srcId="{0F90807F-9B06-41A3-9F46-0A44E44457E4}" destId="{A072F57F-2EA5-41A1-9F6E-0A889D4B4517}" srcOrd="3" destOrd="0" presId="urn:microsoft.com/office/officeart/2005/8/layout/default"/>
    <dgm:cxn modelId="{7180A6F9-E92D-4FEB-8723-02184982D341}" type="presParOf" srcId="{0F90807F-9B06-41A3-9F46-0A44E44457E4}" destId="{243CC102-BC16-4CF6-99B1-D3653BCF54DD}" srcOrd="4" destOrd="0" presId="urn:microsoft.com/office/officeart/2005/8/layout/default"/>
    <dgm:cxn modelId="{2C3B78D8-D23D-4FF2-81FE-1DD58D69B633}" type="presParOf" srcId="{0F90807F-9B06-41A3-9F46-0A44E44457E4}" destId="{3444DF13-928C-4745-AA5A-98EC000EA8C8}" srcOrd="5" destOrd="0" presId="urn:microsoft.com/office/officeart/2005/8/layout/default"/>
    <dgm:cxn modelId="{295DFB44-2D95-4469-B557-D5030F3BB32C}" type="presParOf" srcId="{0F90807F-9B06-41A3-9F46-0A44E44457E4}" destId="{3345AED3-E8AE-40AD-B56E-281783EF31F5}"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11.xml><?xml version="1.0" encoding="utf-8"?>
<dgm:dataModel xmlns:dgm="http://schemas.openxmlformats.org/drawingml/2006/diagram" xmlns:a="http://schemas.openxmlformats.org/drawingml/2006/main">
  <dgm:ptLst>
    <dgm:pt modelId="{A9FC8E42-7B95-42F1-983B-A5AE72E8C5C0}" type="doc">
      <dgm:prSet loTypeId="urn:diagrams.loki3.com/BracketList" loCatId="officeonline" qsTypeId="urn:microsoft.com/office/officeart/2005/8/quickstyle/simple1" qsCatId="simple" csTypeId="urn:microsoft.com/office/officeart/2005/8/colors/accent1_2" csCatId="accent1" phldr="1"/>
      <dgm:spPr/>
      <dgm:t>
        <a:bodyPr/>
        <a:lstStyle/>
        <a:p>
          <a:endParaRPr lang="en-US"/>
        </a:p>
      </dgm:t>
    </dgm:pt>
    <dgm:pt modelId="{EB4AC6B5-0AE8-4CF2-984B-CC67AC15CFC5}" type="parTrans" cxnId="{DC268FEB-23C0-4DBC-886C-9DBD1B1199E3}">
      <dgm:prSet/>
      <dgm:spPr/>
      <dgm:t>
        <a:bodyPr/>
        <a:lstStyle/>
        <a:p>
          <a:endParaRPr lang="en-US"/>
        </a:p>
      </dgm:t>
    </dgm:pt>
    <dgm:pt modelId="{972C802A-DE7C-4CFB-AB82-96FFF3476E4E}">
      <dgm:prSet phldrT="[Text]" custT="1"/>
      <dgm:spPr>
        <a:noFill/>
        <a:ln>
          <a:noFill/>
        </a:ln>
      </dgm:spPr>
      <dgm:t>
        <a:bodyPr/>
        <a:lstStyle/>
        <a:p>
          <a:r>
            <a:rPr lang="de" sz="1800" b="0" i="0" strike="noStrike" cap="none" spc="0" baseline="0">
              <a:solidFill>
                <a:srgbClr val="000000"/>
              </a:solidFill>
              <a:effectLst/>
              <a:latin typeface="Calibri"/>
              <a:ea typeface="Calibri"/>
              <a:cs typeface="Calibri"/>
            </a:rPr>
            <a:t>Augenkontakt</a:t>
          </a:r>
        </a:p>
      </dgm:t>
    </dgm:pt>
    <dgm:pt modelId="{FECE0BF8-ECB4-4A4E-8988-734D3D2C1857}" type="parTrans" cxnId="{49EE1B95-62F8-4A68-8CDB-1C5A882D336A}">
      <dgm:prSet/>
      <dgm:spPr/>
      <dgm:t>
        <a:bodyPr/>
        <a:lstStyle/>
        <a:p>
          <a:endParaRPr lang="en-US"/>
        </a:p>
      </dgm:t>
    </dgm:pt>
    <dgm:pt modelId="{5F062A7C-B06E-4406-B0DD-354232FCE705}">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600" b="0" i="0" strike="noStrike" cap="none" spc="0" baseline="0">
              <a:solidFill>
                <a:srgbClr val="FFFFFF"/>
              </a:solidFill>
              <a:effectLst/>
              <a:latin typeface="Calibri"/>
              <a:ea typeface="Calibri"/>
              <a:cs typeface="Calibri"/>
            </a:rPr>
            <a:t>Hat die Person Blickkontakt? Oder vermeiden sie es?</a:t>
          </a:r>
        </a:p>
      </dgm:t>
    </dgm:pt>
    <dgm:pt modelId="{CA457DF6-CDBB-4DA3-BD1A-617D376AAEBA}" type="sibTrans" cxnId="{49EE1B95-62F8-4A68-8CDB-1C5A882D336A}">
      <dgm:prSet/>
      <dgm:spPr/>
      <dgm:t>
        <a:bodyPr/>
        <a:lstStyle/>
        <a:p>
          <a:endParaRPr lang="en-US"/>
        </a:p>
      </dgm:t>
    </dgm:pt>
    <dgm:pt modelId="{256E1FC6-3853-4AE2-86E4-6245C7BF4F37}" type="sibTrans" cxnId="{DC268FEB-23C0-4DBC-886C-9DBD1B1199E3}">
      <dgm:prSet/>
      <dgm:spPr/>
      <dgm:t>
        <a:bodyPr/>
        <a:lstStyle/>
        <a:p>
          <a:endParaRPr lang="en-US"/>
        </a:p>
      </dgm:t>
    </dgm:pt>
    <dgm:pt modelId="{67B9D431-DA4A-4643-B490-76689F1C1084}" type="parTrans" cxnId="{3AC8EE64-7E29-41A0-846C-8EA214979C83}">
      <dgm:prSet/>
      <dgm:spPr/>
      <dgm:t>
        <a:bodyPr/>
        <a:lstStyle/>
        <a:p>
          <a:endParaRPr lang="en-US"/>
        </a:p>
      </dgm:t>
    </dgm:pt>
    <dgm:pt modelId="{F338A198-B74D-4D23-AE14-A82F11E1DAD8}">
      <dgm:prSet phldrT="[Text]" custT="1"/>
      <dgm:spPr>
        <a:noFill/>
        <a:ln>
          <a:noFill/>
        </a:ln>
      </dgm:spPr>
      <dgm:t>
        <a:bodyPr/>
        <a:lstStyle/>
        <a:p>
          <a:r>
            <a:rPr lang="de" sz="1800" b="0" i="0" strike="noStrike" cap="none" spc="0" baseline="0">
              <a:solidFill>
                <a:srgbClr val="000000"/>
              </a:solidFill>
              <a:effectLst/>
              <a:latin typeface="Calibri"/>
              <a:ea typeface="Calibri"/>
              <a:cs typeface="Calibri"/>
            </a:rPr>
            <a:t>Mimik</a:t>
          </a:r>
        </a:p>
      </dgm:t>
    </dgm:pt>
    <dgm:pt modelId="{64C787F3-2068-421D-BD82-D745F1B49B24}" type="parTrans" cxnId="{9FA6B1AF-A76C-4539-A09E-F421D6B4966A}">
      <dgm:prSet/>
      <dgm:spPr/>
      <dgm:t>
        <a:bodyPr/>
        <a:lstStyle/>
        <a:p>
          <a:endParaRPr lang="en-US"/>
        </a:p>
      </dgm:t>
    </dgm:pt>
    <dgm:pt modelId="{84A836FC-AAFB-43A3-89CD-795F4C354296}">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600" b="0" i="0" strike="noStrike" cap="none" spc="0" baseline="0">
              <a:solidFill>
                <a:srgbClr val="FFFFFF"/>
              </a:solidFill>
              <a:effectLst/>
              <a:latin typeface="Calibri"/>
              <a:ea typeface="Calibri"/>
              <a:cs typeface="Calibri"/>
            </a:rPr>
            <a:t>Zeigt das Gesicht der Person Wärme und Interesse? Oder ist es leer oder zeigt es Unbehagen?</a:t>
          </a:r>
        </a:p>
      </dgm:t>
    </dgm:pt>
    <dgm:pt modelId="{54346FDA-23C8-4590-AE78-C257FFBA5052}" type="sibTrans" cxnId="{9FA6B1AF-A76C-4539-A09E-F421D6B4966A}">
      <dgm:prSet/>
      <dgm:spPr/>
      <dgm:t>
        <a:bodyPr/>
        <a:lstStyle/>
        <a:p>
          <a:endParaRPr lang="en-US"/>
        </a:p>
      </dgm:t>
    </dgm:pt>
    <dgm:pt modelId="{C58A6317-70AB-4D9F-B558-C995C9E345F3}" type="sibTrans" cxnId="{3AC8EE64-7E29-41A0-846C-8EA214979C83}">
      <dgm:prSet/>
      <dgm:spPr/>
      <dgm:t>
        <a:bodyPr/>
        <a:lstStyle/>
        <a:p>
          <a:endParaRPr lang="en-US"/>
        </a:p>
      </dgm:t>
    </dgm:pt>
    <dgm:pt modelId="{37BEA225-0283-4195-B462-B25B05722CBB}" type="parTrans" cxnId="{09BFFAD8-4C02-404E-9D77-3FF56B027597}">
      <dgm:prSet/>
      <dgm:spPr/>
      <dgm:t>
        <a:bodyPr/>
        <a:lstStyle/>
        <a:p>
          <a:endParaRPr lang="en-US"/>
        </a:p>
      </dgm:t>
    </dgm:pt>
    <dgm:pt modelId="{9B75E048-2AA5-47D4-B202-E2AF294A9841}">
      <dgm:prSet phldrT="[Text]" custT="1"/>
      <dgm:spPr>
        <a:noFill/>
        <a:ln>
          <a:noFill/>
        </a:ln>
      </dgm:spPr>
      <dgm:t>
        <a:bodyPr/>
        <a:lstStyle/>
        <a:p>
          <a:r>
            <a:rPr lang="de" sz="1800" b="0" i="0" strike="noStrike" cap="none" spc="0" baseline="0">
              <a:solidFill>
                <a:srgbClr val="000000"/>
              </a:solidFill>
              <a:effectLst/>
              <a:latin typeface="Calibri"/>
              <a:ea typeface="Calibri"/>
              <a:cs typeface="Calibri"/>
            </a:rPr>
            <a:t>Tonfall</a:t>
          </a:r>
        </a:p>
      </dgm:t>
    </dgm:pt>
    <dgm:pt modelId="{9F71C79D-2DD7-4C89-AEFB-6AAFE803B690}" type="parTrans" cxnId="{4D4BF046-1223-4388-A3CA-D5FE24223625}">
      <dgm:prSet/>
      <dgm:spPr/>
      <dgm:t>
        <a:bodyPr/>
        <a:lstStyle/>
        <a:p>
          <a:endParaRPr lang="en-US"/>
        </a:p>
      </dgm:t>
    </dgm:pt>
    <dgm:pt modelId="{DDF099B8-1FB4-42BC-8CF7-4F0946E8CE06}">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600" b="0" i="0" strike="noStrike" cap="none" spc="0" baseline="0">
              <a:solidFill>
                <a:srgbClr val="FFFFFF"/>
              </a:solidFill>
              <a:effectLst/>
              <a:latin typeface="Calibri"/>
              <a:ea typeface="Calibri"/>
              <a:cs typeface="Calibri"/>
            </a:rPr>
            <a:t>Beruhigt oder interessiert sich die Stimme der Person? Oder ist es angespannt?</a:t>
          </a:r>
        </a:p>
      </dgm:t>
    </dgm:pt>
    <dgm:pt modelId="{94CDA1BF-C6A2-44A8-AD23-C61A10A970F6}" type="sibTrans" cxnId="{4D4BF046-1223-4388-A3CA-D5FE24223625}">
      <dgm:prSet/>
      <dgm:spPr/>
      <dgm:t>
        <a:bodyPr/>
        <a:lstStyle/>
        <a:p>
          <a:endParaRPr lang="en-US"/>
        </a:p>
      </dgm:t>
    </dgm:pt>
    <dgm:pt modelId="{98FC8C8A-113E-4040-8FD7-F6E4AEB3E5A7}" type="sibTrans" cxnId="{09BFFAD8-4C02-404E-9D77-3FF56B027597}">
      <dgm:prSet/>
      <dgm:spPr/>
      <dgm:t>
        <a:bodyPr/>
        <a:lstStyle/>
        <a:p>
          <a:endParaRPr lang="en-US"/>
        </a:p>
      </dgm:t>
    </dgm:pt>
    <dgm:pt modelId="{9ACD4190-12A2-49CD-AB0A-A5666B7B7918}" type="parTrans" cxnId="{C27FA947-E7FC-4D57-9477-FA76DF18D8F4}">
      <dgm:prSet/>
      <dgm:spPr/>
      <dgm:t>
        <a:bodyPr/>
        <a:lstStyle/>
        <a:p>
          <a:endParaRPr lang="en-US"/>
        </a:p>
      </dgm:t>
    </dgm:pt>
    <dgm:pt modelId="{6CBE69AA-1EAC-4424-B2B7-3F6E128CB8BA}">
      <dgm:prSet phldrT="[Text]" custT="1"/>
      <dgm:spPr>
        <a:noFill/>
        <a:ln>
          <a:noFill/>
        </a:ln>
      </dgm:spPr>
      <dgm:t>
        <a:bodyPr/>
        <a:lstStyle/>
        <a:p>
          <a:r>
            <a:rPr lang="de" sz="1800" b="0" i="0" strike="noStrike" cap="none" spc="0" baseline="0">
              <a:solidFill>
                <a:srgbClr val="000000"/>
              </a:solidFill>
              <a:effectLst/>
              <a:latin typeface="Calibri"/>
              <a:ea typeface="Calibri"/>
              <a:cs typeface="Calibri"/>
            </a:rPr>
            <a:t>Haltung und Geste</a:t>
          </a:r>
        </a:p>
      </dgm:t>
    </dgm:pt>
    <dgm:pt modelId="{F38D2D14-BB0A-4111-968D-AD271D79AD40}" type="parTrans" cxnId="{7DCC2297-ECDB-4275-9D06-7192F078B906}">
      <dgm:prSet/>
      <dgm:spPr/>
      <dgm:t>
        <a:bodyPr/>
        <a:lstStyle/>
        <a:p>
          <a:endParaRPr lang="en-US"/>
        </a:p>
      </dgm:t>
    </dgm:pt>
    <dgm:pt modelId="{BD181532-2AC9-4658-A2DD-0F002D433353}">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600" b="0" i="0" strike="noStrike" cap="none" spc="0" baseline="0">
              <a:solidFill>
                <a:srgbClr val="FFFFFF"/>
              </a:solidFill>
              <a:effectLst/>
              <a:latin typeface="Calibri"/>
              <a:ea typeface="Calibri"/>
              <a:cs typeface="Calibri"/>
            </a:rPr>
            <a:t>Ist der Körper der Person entspannt? Oder ist es steif und immobil?</a:t>
          </a:r>
        </a:p>
      </dgm:t>
    </dgm:pt>
    <dgm:pt modelId="{29DE9D28-1260-47FE-910D-47692CA2A79C}" type="sibTrans" cxnId="{7DCC2297-ECDB-4275-9D06-7192F078B906}">
      <dgm:prSet/>
      <dgm:spPr/>
      <dgm:t>
        <a:bodyPr/>
        <a:lstStyle/>
        <a:p>
          <a:endParaRPr lang="en-US"/>
        </a:p>
      </dgm:t>
    </dgm:pt>
    <dgm:pt modelId="{7B16840F-5494-45CE-9189-F7F911A2009B}" type="sibTrans" cxnId="{C27FA947-E7FC-4D57-9477-FA76DF18D8F4}">
      <dgm:prSet/>
      <dgm:spPr/>
      <dgm:t>
        <a:bodyPr/>
        <a:lstStyle/>
        <a:p>
          <a:endParaRPr lang="en-US"/>
        </a:p>
      </dgm:t>
    </dgm:pt>
    <dgm:pt modelId="{807F1521-882E-4D39-8BF8-417E16E78EDB}" type="parTrans" cxnId="{13B52825-644E-4431-A071-C594DAD10412}">
      <dgm:prSet/>
      <dgm:spPr/>
      <dgm:t>
        <a:bodyPr/>
        <a:lstStyle/>
        <a:p>
          <a:endParaRPr lang="en-US"/>
        </a:p>
      </dgm:t>
    </dgm:pt>
    <dgm:pt modelId="{89CC7EA6-749B-42BC-978E-A38075F5C72B}">
      <dgm:prSet phldrT="[Text]" custT="1"/>
      <dgm:spPr>
        <a:noFill/>
        <a:ln>
          <a:noFill/>
        </a:ln>
      </dgm:spPr>
      <dgm:t>
        <a:bodyPr/>
        <a:lstStyle/>
        <a:p>
          <a:r>
            <a:rPr lang="de" sz="1800" b="0" i="0" strike="noStrike" cap="none" spc="0" baseline="0">
              <a:solidFill>
                <a:srgbClr val="000000"/>
              </a:solidFill>
              <a:effectLst/>
              <a:latin typeface="Calibri"/>
              <a:ea typeface="Calibri"/>
              <a:cs typeface="Calibri"/>
            </a:rPr>
            <a:t>Zeitplanung und Ort</a:t>
          </a:r>
        </a:p>
      </dgm:t>
    </dgm:pt>
    <dgm:pt modelId="{FDC2816E-1A03-468B-9061-AEA76AC6A994}" type="parTrans" cxnId="{FE4E84B0-516C-45B9-9A7F-D192D8DA3CA7}">
      <dgm:prSet/>
      <dgm:spPr/>
      <dgm:t>
        <a:bodyPr/>
        <a:lstStyle/>
        <a:p>
          <a:endParaRPr lang="en-US"/>
        </a:p>
      </dgm:t>
    </dgm:pt>
    <dgm:pt modelId="{CF86E16C-B51F-4AC4-B847-500574210A22}">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600" b="0" i="0" strike="noStrike" cap="none" spc="0" baseline="0">
              <a:solidFill>
                <a:srgbClr val="FFFFFF"/>
              </a:solidFill>
              <a:effectLst/>
              <a:latin typeface="Calibri"/>
              <a:ea typeface="Calibri"/>
              <a:cs typeface="Calibri"/>
            </a:rPr>
            <a:t>Gibt es einen einfachen Informationsfluss hin und her? Oder handelt es sich größtenteils um ein einseitiges Gespräch?</a:t>
          </a:r>
        </a:p>
      </dgm:t>
    </dgm:pt>
    <dgm:pt modelId="{F690D86F-5A1D-4097-8241-2BC5BE27F639}" type="sibTrans" cxnId="{FE4E84B0-516C-45B9-9A7F-D192D8DA3CA7}">
      <dgm:prSet/>
      <dgm:spPr/>
      <dgm:t>
        <a:bodyPr/>
        <a:lstStyle/>
        <a:p>
          <a:endParaRPr lang="en-US"/>
        </a:p>
      </dgm:t>
    </dgm:pt>
    <dgm:pt modelId="{343B9B90-5CA5-4DF2-A625-3A6F77D8A08D}" type="sibTrans" cxnId="{13B52825-644E-4431-A071-C594DAD10412}">
      <dgm:prSet/>
      <dgm:spPr/>
      <dgm:t>
        <a:bodyPr/>
        <a:lstStyle/>
        <a:p>
          <a:endParaRPr lang="en-US"/>
        </a:p>
      </dgm:t>
    </dgm:pt>
    <dgm:pt modelId="{1D9BFEA0-AC8A-42F4-B30D-03560ADA1EA1}" type="parTrans" cxnId="{95D813D0-0ACC-4C5E-B513-424DEA9F3E27}">
      <dgm:prSet/>
      <dgm:spPr/>
      <dgm:t>
        <a:bodyPr/>
        <a:lstStyle/>
        <a:p>
          <a:endParaRPr lang="en-US"/>
        </a:p>
      </dgm:t>
    </dgm:pt>
    <dgm:pt modelId="{D627C789-0051-4A89-95D0-9984E46E197F}">
      <dgm:prSet phldrT="[Text]" custT="1"/>
      <dgm:spPr>
        <a:noFill/>
        <a:ln>
          <a:noFill/>
        </a:ln>
      </dgm:spPr>
      <dgm:t>
        <a:bodyPr/>
        <a:lstStyle/>
        <a:p>
          <a:r>
            <a:rPr lang="de" sz="1800" b="0" i="0" strike="noStrike" cap="none" spc="0" baseline="0">
              <a:solidFill>
                <a:srgbClr val="000000"/>
              </a:solidFill>
              <a:effectLst/>
              <a:latin typeface="Calibri"/>
              <a:ea typeface="Calibri"/>
              <a:cs typeface="Calibri"/>
            </a:rPr>
            <a:t>Engagement</a:t>
          </a:r>
        </a:p>
      </dgm:t>
    </dgm:pt>
    <dgm:pt modelId="{EAD9AE3A-A04C-45C7-881F-78EF9496FA8C}" type="parTrans" cxnId="{D0E150C5-A07E-4D83-B499-9BB6317C8DA1}">
      <dgm:prSet/>
      <dgm:spPr/>
      <dgm:t>
        <a:bodyPr/>
        <a:lstStyle/>
        <a:p>
          <a:endParaRPr lang="en-US"/>
        </a:p>
      </dgm:t>
    </dgm:pt>
    <dgm:pt modelId="{DA8ECFEB-D442-451D-8936-BBB3F6B74CCF}">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600" b="0" i="0" strike="noStrike" cap="none" spc="0" baseline="0">
              <a:solidFill>
                <a:srgbClr val="FFFFFF"/>
              </a:solidFill>
              <a:effectLst/>
              <a:latin typeface="Calibri"/>
              <a:ea typeface="Calibri"/>
              <a:cs typeface="Calibri"/>
            </a:rPr>
            <a:t>Scheint die Person das Gespräch zu genießen? Oder sind sie auf der Suche nach einem Ausstieg aus der Interaktion?</a:t>
          </a:r>
        </a:p>
      </dgm:t>
    </dgm:pt>
    <dgm:pt modelId="{97E46952-7C1B-4E28-9386-BD36EE33617D}" type="sibTrans" cxnId="{D0E150C5-A07E-4D83-B499-9BB6317C8DA1}">
      <dgm:prSet/>
      <dgm:spPr/>
      <dgm:t>
        <a:bodyPr/>
        <a:lstStyle/>
        <a:p>
          <a:endParaRPr lang="en-US"/>
        </a:p>
      </dgm:t>
    </dgm:pt>
    <dgm:pt modelId="{93187921-8FD1-4FDC-8010-6C08D72CF9A5}" type="sibTrans" cxnId="{95D813D0-0ACC-4C5E-B513-424DEA9F3E27}">
      <dgm:prSet/>
      <dgm:spPr/>
      <dgm:t>
        <a:bodyPr/>
        <a:lstStyle/>
        <a:p>
          <a:endParaRPr lang="en-US"/>
        </a:p>
      </dgm:t>
    </dgm:pt>
    <dgm:pt modelId="{60E112F2-CD0F-460D-921B-374A913F71ED}" type="pres">
      <dgm:prSet presAssocID="{A9FC8E42-7B95-42F1-983B-A5AE72E8C5C0}" presName="Name0" presStyleCnt="0">
        <dgm:presLayoutVars>
          <dgm:dir/>
          <dgm:animLvl val="lvl"/>
          <dgm:resizeHandles val="exact"/>
        </dgm:presLayoutVars>
      </dgm:prSet>
      <dgm:spPr/>
    </dgm:pt>
    <dgm:pt modelId="{1A038524-604E-4D2F-9D7E-113C69B7C141}" type="pres">
      <dgm:prSet presAssocID="{972C802A-DE7C-4CFB-AB82-96FFF3476E4E}" presName="linNode" presStyleCnt="0"/>
      <dgm:spPr/>
    </dgm:pt>
    <dgm:pt modelId="{66F51E0D-D045-4E2B-AB0C-4F2EC15C2742}" type="pres">
      <dgm:prSet presAssocID="{972C802A-DE7C-4CFB-AB82-96FFF3476E4E}" presName="parTx" presStyleLbl="revTx" presStyleIdx="0" presStyleCnt="6">
        <dgm:presLayoutVars>
          <dgm:chMax val="1"/>
          <dgm:bulletEnabled val="1"/>
        </dgm:presLayoutVars>
      </dgm:prSet>
      <dgm:spPr/>
    </dgm:pt>
    <dgm:pt modelId="{FC80247D-E118-4105-90BF-F29AB52D411B}" type="pres">
      <dgm:prSet presAssocID="{972C802A-DE7C-4CFB-AB82-96FFF3476E4E}" presName="bracket" presStyleLbl="parChTrans1D1" presStyleIdx="0" presStyleCnt="6"/>
      <dgm:spPr>
        <a:noFill/>
        <a:ln w="12700" cap="flat" cmpd="sng" algn="ctr">
          <a:solidFill>
            <a:schemeClr val="accent1">
              <a:shade val="60000"/>
              <a:hueOff val="0"/>
              <a:satOff val="0"/>
              <a:lumOff val="0"/>
              <a:alphaOff val="0"/>
            </a:schemeClr>
          </a:solidFill>
          <a:prstDash val="solid"/>
          <a:miter lim="800000"/>
        </a:ln>
      </dgm:spPr>
    </dgm:pt>
    <dgm:pt modelId="{0FD2FB49-ED8B-4824-AEAF-3A94420311F8}" type="pres">
      <dgm:prSet presAssocID="{972C802A-DE7C-4CFB-AB82-96FFF3476E4E}" presName="spH" presStyleCnt="0"/>
      <dgm:spPr/>
    </dgm:pt>
    <dgm:pt modelId="{D5929079-7C2E-4F45-A6B9-1B7792F83AEF}" type="pres">
      <dgm:prSet presAssocID="{972C802A-DE7C-4CFB-AB82-96FFF3476E4E}" presName="desTx" presStyleLbl="node1" presStyleIdx="0" presStyleCnt="6">
        <dgm:presLayoutVars>
          <dgm:bulletEnabled val="1"/>
        </dgm:presLayoutVars>
      </dgm:prSet>
      <dgm:spPr/>
    </dgm:pt>
    <dgm:pt modelId="{7DF0E247-63B9-4008-A971-6F49D7F9E081}" type="pres">
      <dgm:prSet presAssocID="{256E1FC6-3853-4AE2-86E4-6245C7BF4F37}" presName="spV" presStyleCnt="0"/>
      <dgm:spPr/>
    </dgm:pt>
    <dgm:pt modelId="{E59D26DB-AF0C-4FA9-84AF-32ED08C4AC0A}" type="pres">
      <dgm:prSet presAssocID="{F338A198-B74D-4D23-AE14-A82F11E1DAD8}" presName="linNode" presStyleCnt="0"/>
      <dgm:spPr/>
    </dgm:pt>
    <dgm:pt modelId="{33D9AD84-C2DD-43AA-B8C0-6E15771BE78B}" type="pres">
      <dgm:prSet presAssocID="{F338A198-B74D-4D23-AE14-A82F11E1DAD8}" presName="parTx" presStyleLbl="revTx" presStyleIdx="1" presStyleCnt="6">
        <dgm:presLayoutVars>
          <dgm:chMax val="1"/>
          <dgm:bulletEnabled val="1"/>
        </dgm:presLayoutVars>
      </dgm:prSet>
      <dgm:spPr/>
    </dgm:pt>
    <dgm:pt modelId="{9117B35D-C06B-428F-8A45-50C11E8FFA23}" type="pres">
      <dgm:prSet presAssocID="{F338A198-B74D-4D23-AE14-A82F11E1DAD8}" presName="bracket" presStyleLbl="parChTrans1D1" presStyleIdx="1" presStyleCnt="6"/>
      <dgm:spPr>
        <a:noFill/>
        <a:ln w="12700" cap="flat" cmpd="sng" algn="ctr">
          <a:solidFill>
            <a:schemeClr val="accent1">
              <a:shade val="60000"/>
              <a:hueOff val="0"/>
              <a:satOff val="0"/>
              <a:lumOff val="0"/>
              <a:alphaOff val="0"/>
            </a:schemeClr>
          </a:solidFill>
          <a:prstDash val="solid"/>
          <a:miter lim="800000"/>
        </a:ln>
      </dgm:spPr>
    </dgm:pt>
    <dgm:pt modelId="{EA474D2E-5346-44AA-8F49-9AD64CE626D8}" type="pres">
      <dgm:prSet presAssocID="{F338A198-B74D-4D23-AE14-A82F11E1DAD8}" presName="spH" presStyleCnt="0"/>
      <dgm:spPr/>
    </dgm:pt>
    <dgm:pt modelId="{34E5CFAF-7A5E-4128-8997-A5651A906319}" type="pres">
      <dgm:prSet presAssocID="{F338A198-B74D-4D23-AE14-A82F11E1DAD8}" presName="desTx" presStyleLbl="node1" presStyleIdx="1" presStyleCnt="6">
        <dgm:presLayoutVars>
          <dgm:bulletEnabled val="1"/>
        </dgm:presLayoutVars>
      </dgm:prSet>
      <dgm:spPr/>
    </dgm:pt>
    <dgm:pt modelId="{00C54DFA-A3F8-406C-B094-0E3D2CF0786D}" type="pres">
      <dgm:prSet presAssocID="{C58A6317-70AB-4D9F-B558-C995C9E345F3}" presName="spV" presStyleCnt="0"/>
      <dgm:spPr/>
    </dgm:pt>
    <dgm:pt modelId="{92973F54-1F5B-4C40-BBAB-9E62B4F56DA9}" type="pres">
      <dgm:prSet presAssocID="{9B75E048-2AA5-47D4-B202-E2AF294A9841}" presName="linNode" presStyleCnt="0"/>
      <dgm:spPr/>
    </dgm:pt>
    <dgm:pt modelId="{5400C3F5-CC03-4C92-9C64-BD6ED3005EC2}" type="pres">
      <dgm:prSet presAssocID="{9B75E048-2AA5-47D4-B202-E2AF294A9841}" presName="parTx" presStyleLbl="revTx" presStyleIdx="2" presStyleCnt="6">
        <dgm:presLayoutVars>
          <dgm:chMax val="1"/>
          <dgm:bulletEnabled val="1"/>
        </dgm:presLayoutVars>
      </dgm:prSet>
      <dgm:spPr/>
    </dgm:pt>
    <dgm:pt modelId="{C3AF3EC1-996A-46C1-B710-476892751235}" type="pres">
      <dgm:prSet presAssocID="{9B75E048-2AA5-47D4-B202-E2AF294A9841}" presName="bracket" presStyleLbl="parChTrans1D1" presStyleIdx="2" presStyleCnt="6"/>
      <dgm:spPr>
        <a:noFill/>
        <a:ln w="12700" cap="flat" cmpd="sng" algn="ctr">
          <a:solidFill>
            <a:schemeClr val="accent1">
              <a:shade val="60000"/>
              <a:hueOff val="0"/>
              <a:satOff val="0"/>
              <a:lumOff val="0"/>
              <a:alphaOff val="0"/>
            </a:schemeClr>
          </a:solidFill>
          <a:prstDash val="solid"/>
          <a:miter lim="800000"/>
        </a:ln>
      </dgm:spPr>
    </dgm:pt>
    <dgm:pt modelId="{7A4A087B-252F-42E5-A266-D59FD817BE35}" type="pres">
      <dgm:prSet presAssocID="{9B75E048-2AA5-47D4-B202-E2AF294A9841}" presName="spH" presStyleCnt="0"/>
      <dgm:spPr/>
    </dgm:pt>
    <dgm:pt modelId="{2A87B468-0784-4F3F-9515-BBB3492CC8A0}" type="pres">
      <dgm:prSet presAssocID="{9B75E048-2AA5-47D4-B202-E2AF294A9841}" presName="desTx" presStyleLbl="node1" presStyleIdx="2" presStyleCnt="6">
        <dgm:presLayoutVars>
          <dgm:bulletEnabled val="1"/>
        </dgm:presLayoutVars>
      </dgm:prSet>
      <dgm:spPr/>
    </dgm:pt>
    <dgm:pt modelId="{DB5F5B3A-2AB1-40C7-A339-6D58ABE1BB22}" type="pres">
      <dgm:prSet presAssocID="{98FC8C8A-113E-4040-8FD7-F6E4AEB3E5A7}" presName="spV" presStyleCnt="0"/>
      <dgm:spPr/>
    </dgm:pt>
    <dgm:pt modelId="{308F86B7-D941-4219-B1EF-1DF0218329AF}" type="pres">
      <dgm:prSet presAssocID="{6CBE69AA-1EAC-4424-B2B7-3F6E128CB8BA}" presName="linNode" presStyleCnt="0"/>
      <dgm:spPr/>
    </dgm:pt>
    <dgm:pt modelId="{85BD6EBC-B7BD-4283-9195-03758FD188DF}" type="pres">
      <dgm:prSet presAssocID="{6CBE69AA-1EAC-4424-B2B7-3F6E128CB8BA}" presName="parTx" presStyleLbl="revTx" presStyleIdx="3" presStyleCnt="6">
        <dgm:presLayoutVars>
          <dgm:chMax val="1"/>
          <dgm:bulletEnabled val="1"/>
        </dgm:presLayoutVars>
      </dgm:prSet>
      <dgm:spPr/>
    </dgm:pt>
    <dgm:pt modelId="{E0FC9C9B-F53E-4A4C-8BA2-1529EE697C2B}" type="pres">
      <dgm:prSet presAssocID="{6CBE69AA-1EAC-4424-B2B7-3F6E128CB8BA}" presName="bracket" presStyleLbl="parChTrans1D1" presStyleIdx="3" presStyleCnt="6"/>
      <dgm:spPr>
        <a:noFill/>
        <a:ln w="12700" cap="flat" cmpd="sng" algn="ctr">
          <a:solidFill>
            <a:schemeClr val="accent1">
              <a:shade val="60000"/>
              <a:hueOff val="0"/>
              <a:satOff val="0"/>
              <a:lumOff val="0"/>
              <a:alphaOff val="0"/>
            </a:schemeClr>
          </a:solidFill>
          <a:prstDash val="solid"/>
          <a:miter lim="800000"/>
        </a:ln>
      </dgm:spPr>
    </dgm:pt>
    <dgm:pt modelId="{F34B3F96-6075-42A2-BF96-870BB31D26EF}" type="pres">
      <dgm:prSet presAssocID="{6CBE69AA-1EAC-4424-B2B7-3F6E128CB8BA}" presName="spH" presStyleCnt="0"/>
      <dgm:spPr/>
    </dgm:pt>
    <dgm:pt modelId="{0ECD8488-674C-4C0C-9655-2C89CD3ACFBA}" type="pres">
      <dgm:prSet presAssocID="{6CBE69AA-1EAC-4424-B2B7-3F6E128CB8BA}" presName="desTx" presStyleLbl="node1" presStyleIdx="3" presStyleCnt="6">
        <dgm:presLayoutVars>
          <dgm:bulletEnabled val="1"/>
        </dgm:presLayoutVars>
      </dgm:prSet>
      <dgm:spPr/>
    </dgm:pt>
    <dgm:pt modelId="{6D7C8854-9976-4879-849A-A5B35E279A0D}" type="pres">
      <dgm:prSet presAssocID="{7B16840F-5494-45CE-9189-F7F911A2009B}" presName="spV" presStyleCnt="0"/>
      <dgm:spPr/>
    </dgm:pt>
    <dgm:pt modelId="{24457AD7-6E8B-451C-9C78-107477CEA4C7}" type="pres">
      <dgm:prSet presAssocID="{89CC7EA6-749B-42BC-978E-A38075F5C72B}" presName="linNode" presStyleCnt="0"/>
      <dgm:spPr/>
    </dgm:pt>
    <dgm:pt modelId="{A3CD7AA6-38F4-4A44-AF0C-AA53CC2A4238}" type="pres">
      <dgm:prSet presAssocID="{89CC7EA6-749B-42BC-978E-A38075F5C72B}" presName="parTx" presStyleLbl="revTx" presStyleIdx="4" presStyleCnt="6">
        <dgm:presLayoutVars>
          <dgm:chMax val="1"/>
          <dgm:bulletEnabled val="1"/>
        </dgm:presLayoutVars>
      </dgm:prSet>
      <dgm:spPr/>
    </dgm:pt>
    <dgm:pt modelId="{A0BBA243-A395-4F9E-9DD5-840A3D69F33B}" type="pres">
      <dgm:prSet presAssocID="{89CC7EA6-749B-42BC-978E-A38075F5C72B}" presName="bracket" presStyleLbl="parChTrans1D1" presStyleIdx="4" presStyleCnt="6"/>
      <dgm:spPr>
        <a:noFill/>
        <a:ln w="12700" cap="flat" cmpd="sng" algn="ctr">
          <a:solidFill>
            <a:schemeClr val="accent1">
              <a:shade val="60000"/>
              <a:hueOff val="0"/>
              <a:satOff val="0"/>
              <a:lumOff val="0"/>
              <a:alphaOff val="0"/>
            </a:schemeClr>
          </a:solidFill>
          <a:prstDash val="solid"/>
          <a:miter lim="800000"/>
        </a:ln>
      </dgm:spPr>
    </dgm:pt>
    <dgm:pt modelId="{9650CA60-831C-4DAE-AD3E-09277EDC17F8}" type="pres">
      <dgm:prSet presAssocID="{89CC7EA6-749B-42BC-978E-A38075F5C72B}" presName="spH" presStyleCnt="0"/>
      <dgm:spPr/>
    </dgm:pt>
    <dgm:pt modelId="{66AAEBA6-B695-4691-8B00-49D1E4CA4B7B}" type="pres">
      <dgm:prSet presAssocID="{89CC7EA6-749B-42BC-978E-A38075F5C72B}" presName="desTx" presStyleLbl="node1" presStyleIdx="4" presStyleCnt="6">
        <dgm:presLayoutVars>
          <dgm:bulletEnabled val="1"/>
        </dgm:presLayoutVars>
      </dgm:prSet>
      <dgm:spPr/>
    </dgm:pt>
    <dgm:pt modelId="{A5ED09AD-6A6C-4925-BEC7-2C2EBCB9A713}" type="pres">
      <dgm:prSet presAssocID="{343B9B90-5CA5-4DF2-A625-3A6F77D8A08D}" presName="spV" presStyleCnt="0"/>
      <dgm:spPr/>
    </dgm:pt>
    <dgm:pt modelId="{79C6ACE2-EAD3-40F1-A40D-7C08DA6A36F9}" type="pres">
      <dgm:prSet presAssocID="{D627C789-0051-4A89-95D0-9984E46E197F}" presName="linNode" presStyleCnt="0"/>
      <dgm:spPr/>
    </dgm:pt>
    <dgm:pt modelId="{1165B149-41F8-4D08-BA1A-5857706E9CDE}" type="pres">
      <dgm:prSet presAssocID="{D627C789-0051-4A89-95D0-9984E46E197F}" presName="parTx" presStyleLbl="revTx" presStyleIdx="5" presStyleCnt="6">
        <dgm:presLayoutVars>
          <dgm:chMax val="1"/>
          <dgm:bulletEnabled val="1"/>
        </dgm:presLayoutVars>
      </dgm:prSet>
      <dgm:spPr/>
    </dgm:pt>
    <dgm:pt modelId="{0A6E157B-C627-4B14-8B26-59B96448430A}" type="pres">
      <dgm:prSet presAssocID="{D627C789-0051-4A89-95D0-9984E46E197F}" presName="bracket" presStyleLbl="parChTrans1D1" presStyleIdx="5" presStyleCnt="6"/>
      <dgm:spPr>
        <a:noFill/>
        <a:ln w="12700" cap="flat" cmpd="sng" algn="ctr">
          <a:solidFill>
            <a:schemeClr val="accent1">
              <a:shade val="60000"/>
              <a:hueOff val="0"/>
              <a:satOff val="0"/>
              <a:lumOff val="0"/>
              <a:alphaOff val="0"/>
            </a:schemeClr>
          </a:solidFill>
          <a:prstDash val="solid"/>
          <a:miter lim="800000"/>
        </a:ln>
      </dgm:spPr>
    </dgm:pt>
    <dgm:pt modelId="{2D612181-86BE-42DF-B0C0-83C5CE48BEBE}" type="pres">
      <dgm:prSet presAssocID="{D627C789-0051-4A89-95D0-9984E46E197F}" presName="spH" presStyleCnt="0"/>
      <dgm:spPr/>
    </dgm:pt>
    <dgm:pt modelId="{B846999F-8B22-4EFB-AAE0-C9D0AFC0A833}" type="pres">
      <dgm:prSet presAssocID="{D627C789-0051-4A89-95D0-9984E46E197F}" presName="desTx" presStyleLbl="node1" presStyleIdx="5" presStyleCnt="6">
        <dgm:presLayoutVars>
          <dgm:bulletEnabled val="1"/>
        </dgm:presLayoutVars>
      </dgm:prSet>
      <dgm:spPr/>
    </dgm:pt>
  </dgm:ptLst>
  <dgm:cxnLst>
    <dgm:cxn modelId="{412D731F-F077-44F6-9A91-6ECE87713AA0}" type="presOf" srcId="{D627C789-0051-4A89-95D0-9984E46E197F}" destId="{1165B149-41F8-4D08-BA1A-5857706E9CDE}" srcOrd="0" destOrd="0" presId="urn:diagrams.loki3.com/BracketList"/>
    <dgm:cxn modelId="{13B52825-644E-4431-A071-C594DAD10412}" srcId="{A9FC8E42-7B95-42F1-983B-A5AE72E8C5C0}" destId="{89CC7EA6-749B-42BC-978E-A38075F5C72B}" srcOrd="4" destOrd="0" parTransId="{807F1521-882E-4D39-8BF8-417E16E78EDB}" sibTransId="{343B9B90-5CA5-4DF2-A625-3A6F77D8A08D}"/>
    <dgm:cxn modelId="{673A1E2B-7E44-4D9B-B9B8-78519D038C2B}" type="presOf" srcId="{DDF099B8-1FB4-42BC-8CF7-4F0946E8CE06}" destId="{2A87B468-0784-4F3F-9515-BBB3492CC8A0}" srcOrd="0" destOrd="0" presId="urn:diagrams.loki3.com/BracketList"/>
    <dgm:cxn modelId="{D6A2045E-08B3-4FC7-BD66-0EBFD9ACE7A2}" type="presOf" srcId="{972C802A-DE7C-4CFB-AB82-96FFF3476E4E}" destId="{66F51E0D-D045-4E2B-AB0C-4F2EC15C2742}" srcOrd="0" destOrd="0" presId="urn:diagrams.loki3.com/BracketList"/>
    <dgm:cxn modelId="{3AC8EE64-7E29-41A0-846C-8EA214979C83}" srcId="{A9FC8E42-7B95-42F1-983B-A5AE72E8C5C0}" destId="{F338A198-B74D-4D23-AE14-A82F11E1DAD8}" srcOrd="1" destOrd="0" parTransId="{67B9D431-DA4A-4643-B490-76689F1C1084}" sibTransId="{C58A6317-70AB-4D9F-B558-C995C9E345F3}"/>
    <dgm:cxn modelId="{4D4BF046-1223-4388-A3CA-D5FE24223625}" srcId="{9B75E048-2AA5-47D4-B202-E2AF294A9841}" destId="{DDF099B8-1FB4-42BC-8CF7-4F0946E8CE06}" srcOrd="0" destOrd="0" parTransId="{9F71C79D-2DD7-4C89-AEFB-6AAFE803B690}" sibTransId="{94CDA1BF-C6A2-44A8-AD23-C61A10A970F6}"/>
    <dgm:cxn modelId="{C27FA947-E7FC-4D57-9477-FA76DF18D8F4}" srcId="{A9FC8E42-7B95-42F1-983B-A5AE72E8C5C0}" destId="{6CBE69AA-1EAC-4424-B2B7-3F6E128CB8BA}" srcOrd="3" destOrd="0" parTransId="{9ACD4190-12A2-49CD-AB0A-A5666B7B7918}" sibTransId="{7B16840F-5494-45CE-9189-F7F911A2009B}"/>
    <dgm:cxn modelId="{26E5366F-8A83-4A25-8473-6D879414BFF8}" type="presOf" srcId="{89CC7EA6-749B-42BC-978E-A38075F5C72B}" destId="{A3CD7AA6-38F4-4A44-AF0C-AA53CC2A4238}" srcOrd="0" destOrd="0" presId="urn:diagrams.loki3.com/BracketList"/>
    <dgm:cxn modelId="{B447F051-2839-47BD-837C-A40720F26597}" type="presOf" srcId="{F338A198-B74D-4D23-AE14-A82F11E1DAD8}" destId="{33D9AD84-C2DD-43AA-B8C0-6E15771BE78B}" srcOrd="0" destOrd="0" presId="urn:diagrams.loki3.com/BracketList"/>
    <dgm:cxn modelId="{28307B75-C378-4D05-B527-96EC0891FCE6}" type="presOf" srcId="{84A836FC-AAFB-43A3-89CD-795F4C354296}" destId="{34E5CFAF-7A5E-4128-8997-A5651A906319}" srcOrd="0" destOrd="0" presId="urn:diagrams.loki3.com/BracketList"/>
    <dgm:cxn modelId="{49EE1B95-62F8-4A68-8CDB-1C5A882D336A}" srcId="{972C802A-DE7C-4CFB-AB82-96FFF3476E4E}" destId="{5F062A7C-B06E-4406-B0DD-354232FCE705}" srcOrd="0" destOrd="0" parTransId="{FECE0BF8-ECB4-4A4E-8988-734D3D2C1857}" sibTransId="{CA457DF6-CDBB-4DA3-BD1A-617D376AAEBA}"/>
    <dgm:cxn modelId="{7DCC2297-ECDB-4275-9D06-7192F078B906}" srcId="{6CBE69AA-1EAC-4424-B2B7-3F6E128CB8BA}" destId="{BD181532-2AC9-4658-A2DD-0F002D433353}" srcOrd="0" destOrd="0" parTransId="{F38D2D14-BB0A-4111-968D-AD271D79AD40}" sibTransId="{29DE9D28-1260-47FE-910D-47692CA2A79C}"/>
    <dgm:cxn modelId="{98FCC0A8-A2ED-402D-83FE-BBAA58AE76D9}" type="presOf" srcId="{BD181532-2AC9-4658-A2DD-0F002D433353}" destId="{0ECD8488-674C-4C0C-9655-2C89CD3ACFBA}" srcOrd="0" destOrd="0" presId="urn:diagrams.loki3.com/BracketList"/>
    <dgm:cxn modelId="{9FA6B1AF-A76C-4539-A09E-F421D6B4966A}" srcId="{F338A198-B74D-4D23-AE14-A82F11E1DAD8}" destId="{84A836FC-AAFB-43A3-89CD-795F4C354296}" srcOrd="0" destOrd="0" parTransId="{64C787F3-2068-421D-BD82-D745F1B49B24}" sibTransId="{54346FDA-23C8-4590-AE78-C257FFBA5052}"/>
    <dgm:cxn modelId="{FE4E84B0-516C-45B9-9A7F-D192D8DA3CA7}" srcId="{89CC7EA6-749B-42BC-978E-A38075F5C72B}" destId="{CF86E16C-B51F-4AC4-B847-500574210A22}" srcOrd="0" destOrd="0" parTransId="{FDC2816E-1A03-468B-9061-AEA76AC6A994}" sibTransId="{F690D86F-5A1D-4097-8241-2BC5BE27F639}"/>
    <dgm:cxn modelId="{E776B2B0-49B6-421C-B498-2FCFFC23E6BA}" type="presOf" srcId="{6CBE69AA-1EAC-4424-B2B7-3F6E128CB8BA}" destId="{85BD6EBC-B7BD-4283-9195-03758FD188DF}" srcOrd="0" destOrd="0" presId="urn:diagrams.loki3.com/BracketList"/>
    <dgm:cxn modelId="{8B38F1B0-93B2-4A77-ABA2-3CD656DEDEBA}" type="presOf" srcId="{DA8ECFEB-D442-451D-8936-BBB3F6B74CCF}" destId="{B846999F-8B22-4EFB-AAE0-C9D0AFC0A833}" srcOrd="0" destOrd="0" presId="urn:diagrams.loki3.com/BracketList"/>
    <dgm:cxn modelId="{60C4EDB7-CAB7-433A-B666-E197C633A04E}" type="presOf" srcId="{CF86E16C-B51F-4AC4-B847-500574210A22}" destId="{66AAEBA6-B695-4691-8B00-49D1E4CA4B7B}" srcOrd="0" destOrd="0" presId="urn:diagrams.loki3.com/BracketList"/>
    <dgm:cxn modelId="{D0E150C5-A07E-4D83-B499-9BB6317C8DA1}" srcId="{D627C789-0051-4A89-95D0-9984E46E197F}" destId="{DA8ECFEB-D442-451D-8936-BBB3F6B74CCF}" srcOrd="0" destOrd="0" parTransId="{EAD9AE3A-A04C-45C7-881F-78EF9496FA8C}" sibTransId="{97E46952-7C1B-4E28-9386-BD36EE33617D}"/>
    <dgm:cxn modelId="{95D813D0-0ACC-4C5E-B513-424DEA9F3E27}" srcId="{A9FC8E42-7B95-42F1-983B-A5AE72E8C5C0}" destId="{D627C789-0051-4A89-95D0-9984E46E197F}" srcOrd="5" destOrd="0" parTransId="{1D9BFEA0-AC8A-42F4-B30D-03560ADA1EA1}" sibTransId="{93187921-8FD1-4FDC-8010-6C08D72CF9A5}"/>
    <dgm:cxn modelId="{86ED1BD3-FE29-4855-8E64-609498E6AA2E}" type="presOf" srcId="{5F062A7C-B06E-4406-B0DD-354232FCE705}" destId="{D5929079-7C2E-4F45-A6B9-1B7792F83AEF}" srcOrd="0" destOrd="0" presId="urn:diagrams.loki3.com/BracketList"/>
    <dgm:cxn modelId="{09BFFAD8-4C02-404E-9D77-3FF56B027597}" srcId="{A9FC8E42-7B95-42F1-983B-A5AE72E8C5C0}" destId="{9B75E048-2AA5-47D4-B202-E2AF294A9841}" srcOrd="2" destOrd="0" parTransId="{37BEA225-0283-4195-B462-B25B05722CBB}" sibTransId="{98FC8C8A-113E-4040-8FD7-F6E4AEB3E5A7}"/>
    <dgm:cxn modelId="{B58038DC-9DA0-4DBC-A0A1-02F48AF09DC9}" type="presOf" srcId="{9B75E048-2AA5-47D4-B202-E2AF294A9841}" destId="{5400C3F5-CC03-4C92-9C64-BD6ED3005EC2}" srcOrd="0" destOrd="0" presId="urn:diagrams.loki3.com/BracketList"/>
    <dgm:cxn modelId="{DC268FEB-23C0-4DBC-886C-9DBD1B1199E3}" srcId="{A9FC8E42-7B95-42F1-983B-A5AE72E8C5C0}" destId="{972C802A-DE7C-4CFB-AB82-96FFF3476E4E}" srcOrd="0" destOrd="0" parTransId="{EB4AC6B5-0AE8-4CF2-984B-CC67AC15CFC5}" sibTransId="{256E1FC6-3853-4AE2-86E4-6245C7BF4F37}"/>
    <dgm:cxn modelId="{59235AF2-C642-4BD3-86D7-D66725808804}" type="presOf" srcId="{A9FC8E42-7B95-42F1-983B-A5AE72E8C5C0}" destId="{60E112F2-CD0F-460D-921B-374A913F71ED}" srcOrd="0" destOrd="0" presId="urn:diagrams.loki3.com/BracketList"/>
    <dgm:cxn modelId="{576D7175-EE72-4565-85C2-2A0AF0DFF83A}" type="presParOf" srcId="{60E112F2-CD0F-460D-921B-374A913F71ED}" destId="{1A038524-604E-4D2F-9D7E-113C69B7C141}" srcOrd="0" destOrd="0" presId="urn:diagrams.loki3.com/BracketList"/>
    <dgm:cxn modelId="{54E2D39A-3E42-48E0-AE5B-E0B0FC29AB9E}" type="presParOf" srcId="{1A038524-604E-4D2F-9D7E-113C69B7C141}" destId="{66F51E0D-D045-4E2B-AB0C-4F2EC15C2742}" srcOrd="0" destOrd="0" presId="urn:diagrams.loki3.com/BracketList"/>
    <dgm:cxn modelId="{AAF897A8-925F-4C0C-9C25-A2C819D1C0B7}" type="presParOf" srcId="{1A038524-604E-4D2F-9D7E-113C69B7C141}" destId="{FC80247D-E118-4105-90BF-F29AB52D411B}" srcOrd="1" destOrd="0" presId="urn:diagrams.loki3.com/BracketList"/>
    <dgm:cxn modelId="{52932A7D-22E3-4A47-824F-B45A985F68FB}" type="presParOf" srcId="{1A038524-604E-4D2F-9D7E-113C69B7C141}" destId="{0FD2FB49-ED8B-4824-AEAF-3A94420311F8}" srcOrd="2" destOrd="0" presId="urn:diagrams.loki3.com/BracketList"/>
    <dgm:cxn modelId="{2965957B-D9BD-472B-AB0D-1BA1A486BBAC}" type="presParOf" srcId="{1A038524-604E-4D2F-9D7E-113C69B7C141}" destId="{D5929079-7C2E-4F45-A6B9-1B7792F83AEF}" srcOrd="3" destOrd="0" presId="urn:diagrams.loki3.com/BracketList"/>
    <dgm:cxn modelId="{CD06B3B9-1E87-46B3-A1C9-C5C8054B92F4}" type="presParOf" srcId="{60E112F2-CD0F-460D-921B-374A913F71ED}" destId="{7DF0E247-63B9-4008-A971-6F49D7F9E081}" srcOrd="1" destOrd="0" presId="urn:diagrams.loki3.com/BracketList"/>
    <dgm:cxn modelId="{422698EB-FE35-4895-AAD1-35F55B9CA54E}" type="presParOf" srcId="{60E112F2-CD0F-460D-921B-374A913F71ED}" destId="{E59D26DB-AF0C-4FA9-84AF-32ED08C4AC0A}" srcOrd="2" destOrd="0" presId="urn:diagrams.loki3.com/BracketList"/>
    <dgm:cxn modelId="{F48DE93A-5177-4785-B0DC-3490EF6A368C}" type="presParOf" srcId="{E59D26DB-AF0C-4FA9-84AF-32ED08C4AC0A}" destId="{33D9AD84-C2DD-43AA-B8C0-6E15771BE78B}" srcOrd="0" destOrd="0" presId="urn:diagrams.loki3.com/BracketList"/>
    <dgm:cxn modelId="{8DE73B01-9081-4D46-ADB0-061025FDF599}" type="presParOf" srcId="{E59D26DB-AF0C-4FA9-84AF-32ED08C4AC0A}" destId="{9117B35D-C06B-428F-8A45-50C11E8FFA23}" srcOrd="1" destOrd="0" presId="urn:diagrams.loki3.com/BracketList"/>
    <dgm:cxn modelId="{CA5FC321-708C-46B0-B546-352281E189E8}" type="presParOf" srcId="{E59D26DB-AF0C-4FA9-84AF-32ED08C4AC0A}" destId="{EA474D2E-5346-44AA-8F49-9AD64CE626D8}" srcOrd="2" destOrd="0" presId="urn:diagrams.loki3.com/BracketList"/>
    <dgm:cxn modelId="{FB0386A5-E498-4132-BA8B-4C503F1593AA}" type="presParOf" srcId="{E59D26DB-AF0C-4FA9-84AF-32ED08C4AC0A}" destId="{34E5CFAF-7A5E-4128-8997-A5651A906319}" srcOrd="3" destOrd="0" presId="urn:diagrams.loki3.com/BracketList"/>
    <dgm:cxn modelId="{D86F0A09-A46A-4D80-BFED-D03CB647D4DB}" type="presParOf" srcId="{60E112F2-CD0F-460D-921B-374A913F71ED}" destId="{00C54DFA-A3F8-406C-B094-0E3D2CF0786D}" srcOrd="3" destOrd="0" presId="urn:diagrams.loki3.com/BracketList"/>
    <dgm:cxn modelId="{A3D7A9DA-02EC-4F31-AF59-B4059430A0F8}" type="presParOf" srcId="{60E112F2-CD0F-460D-921B-374A913F71ED}" destId="{92973F54-1F5B-4C40-BBAB-9E62B4F56DA9}" srcOrd="4" destOrd="0" presId="urn:diagrams.loki3.com/BracketList"/>
    <dgm:cxn modelId="{FFA7C049-D3E2-4D99-8DC3-E90BFEA88D89}" type="presParOf" srcId="{92973F54-1F5B-4C40-BBAB-9E62B4F56DA9}" destId="{5400C3F5-CC03-4C92-9C64-BD6ED3005EC2}" srcOrd="0" destOrd="0" presId="urn:diagrams.loki3.com/BracketList"/>
    <dgm:cxn modelId="{94D7BE6A-82A5-47C0-96D7-4CBA1CD86362}" type="presParOf" srcId="{92973F54-1F5B-4C40-BBAB-9E62B4F56DA9}" destId="{C3AF3EC1-996A-46C1-B710-476892751235}" srcOrd="1" destOrd="0" presId="urn:diagrams.loki3.com/BracketList"/>
    <dgm:cxn modelId="{5BCE2554-04B5-4FE1-83FB-4D400A92A048}" type="presParOf" srcId="{92973F54-1F5B-4C40-BBAB-9E62B4F56DA9}" destId="{7A4A087B-252F-42E5-A266-D59FD817BE35}" srcOrd="2" destOrd="0" presId="urn:diagrams.loki3.com/BracketList"/>
    <dgm:cxn modelId="{D37A947F-2831-47CE-BE35-37D994298638}" type="presParOf" srcId="{92973F54-1F5B-4C40-BBAB-9E62B4F56DA9}" destId="{2A87B468-0784-4F3F-9515-BBB3492CC8A0}" srcOrd="3" destOrd="0" presId="urn:diagrams.loki3.com/BracketList"/>
    <dgm:cxn modelId="{24BF1FDE-35CE-43BF-B9EB-FBB69F602475}" type="presParOf" srcId="{60E112F2-CD0F-460D-921B-374A913F71ED}" destId="{DB5F5B3A-2AB1-40C7-A339-6D58ABE1BB22}" srcOrd="5" destOrd="0" presId="urn:diagrams.loki3.com/BracketList"/>
    <dgm:cxn modelId="{67C52172-A1C4-46A1-A460-6C90331FB0AD}" type="presParOf" srcId="{60E112F2-CD0F-460D-921B-374A913F71ED}" destId="{308F86B7-D941-4219-B1EF-1DF0218329AF}" srcOrd="6" destOrd="0" presId="urn:diagrams.loki3.com/BracketList"/>
    <dgm:cxn modelId="{89DEF802-B0F9-4834-AFF9-DB93275D1D17}" type="presParOf" srcId="{308F86B7-D941-4219-B1EF-1DF0218329AF}" destId="{85BD6EBC-B7BD-4283-9195-03758FD188DF}" srcOrd="0" destOrd="0" presId="urn:diagrams.loki3.com/BracketList"/>
    <dgm:cxn modelId="{42FDB779-2D94-4236-9BBC-30FCCE71863B}" type="presParOf" srcId="{308F86B7-D941-4219-B1EF-1DF0218329AF}" destId="{E0FC9C9B-F53E-4A4C-8BA2-1529EE697C2B}" srcOrd="1" destOrd="0" presId="urn:diagrams.loki3.com/BracketList"/>
    <dgm:cxn modelId="{71C5E1B4-80F8-4C09-8C45-55C376131FD1}" type="presParOf" srcId="{308F86B7-D941-4219-B1EF-1DF0218329AF}" destId="{F34B3F96-6075-42A2-BF96-870BB31D26EF}" srcOrd="2" destOrd="0" presId="urn:diagrams.loki3.com/BracketList"/>
    <dgm:cxn modelId="{558ED413-ECC7-4979-BBC4-824E6BB3B019}" type="presParOf" srcId="{308F86B7-D941-4219-B1EF-1DF0218329AF}" destId="{0ECD8488-674C-4C0C-9655-2C89CD3ACFBA}" srcOrd="3" destOrd="0" presId="urn:diagrams.loki3.com/BracketList"/>
    <dgm:cxn modelId="{09F443E7-ADCF-4A2E-AEE8-30AA96242C38}" type="presParOf" srcId="{60E112F2-CD0F-460D-921B-374A913F71ED}" destId="{6D7C8854-9976-4879-849A-A5B35E279A0D}" srcOrd="7" destOrd="0" presId="urn:diagrams.loki3.com/BracketList"/>
    <dgm:cxn modelId="{CDF4E98C-3703-4B43-AB7E-B6EE84969319}" type="presParOf" srcId="{60E112F2-CD0F-460D-921B-374A913F71ED}" destId="{24457AD7-6E8B-451C-9C78-107477CEA4C7}" srcOrd="8" destOrd="0" presId="urn:diagrams.loki3.com/BracketList"/>
    <dgm:cxn modelId="{1F677B34-FFC3-46FF-8BB5-A51BEC985170}" type="presParOf" srcId="{24457AD7-6E8B-451C-9C78-107477CEA4C7}" destId="{A3CD7AA6-38F4-4A44-AF0C-AA53CC2A4238}" srcOrd="0" destOrd="0" presId="urn:diagrams.loki3.com/BracketList"/>
    <dgm:cxn modelId="{D49A82DC-0648-45C8-8C53-DCDF9A881FEF}" type="presParOf" srcId="{24457AD7-6E8B-451C-9C78-107477CEA4C7}" destId="{A0BBA243-A395-4F9E-9DD5-840A3D69F33B}" srcOrd="1" destOrd="0" presId="urn:diagrams.loki3.com/BracketList"/>
    <dgm:cxn modelId="{8A1A163C-D512-4D4F-92A9-407F5083700C}" type="presParOf" srcId="{24457AD7-6E8B-451C-9C78-107477CEA4C7}" destId="{9650CA60-831C-4DAE-AD3E-09277EDC17F8}" srcOrd="2" destOrd="0" presId="urn:diagrams.loki3.com/BracketList"/>
    <dgm:cxn modelId="{0ADA3E7A-B20B-403D-B662-DCB0BB8BADD6}" type="presParOf" srcId="{24457AD7-6E8B-451C-9C78-107477CEA4C7}" destId="{66AAEBA6-B695-4691-8B00-49D1E4CA4B7B}" srcOrd="3" destOrd="0" presId="urn:diagrams.loki3.com/BracketList"/>
    <dgm:cxn modelId="{5437DE6D-4FAE-4A60-BE62-A72F0919653C}" type="presParOf" srcId="{60E112F2-CD0F-460D-921B-374A913F71ED}" destId="{A5ED09AD-6A6C-4925-BEC7-2C2EBCB9A713}" srcOrd="9" destOrd="0" presId="urn:diagrams.loki3.com/BracketList"/>
    <dgm:cxn modelId="{1D16753E-5479-493B-A92B-E2F38B2C8871}" type="presParOf" srcId="{60E112F2-CD0F-460D-921B-374A913F71ED}" destId="{79C6ACE2-EAD3-40F1-A40D-7C08DA6A36F9}" srcOrd="10" destOrd="0" presId="urn:diagrams.loki3.com/BracketList"/>
    <dgm:cxn modelId="{91DB8E16-0E45-42C1-9396-2342682F769E}" type="presParOf" srcId="{79C6ACE2-EAD3-40F1-A40D-7C08DA6A36F9}" destId="{1165B149-41F8-4D08-BA1A-5857706E9CDE}" srcOrd="0" destOrd="0" presId="urn:diagrams.loki3.com/BracketList"/>
    <dgm:cxn modelId="{B48756BF-88D2-4E3B-AFEB-6A176EBEA656}" type="presParOf" srcId="{79C6ACE2-EAD3-40F1-A40D-7C08DA6A36F9}" destId="{0A6E157B-C627-4B14-8B26-59B96448430A}" srcOrd="1" destOrd="0" presId="urn:diagrams.loki3.com/BracketList"/>
    <dgm:cxn modelId="{D04B007B-B51F-4BDB-8C63-0175E4B95F03}" type="presParOf" srcId="{79C6ACE2-EAD3-40F1-A40D-7C08DA6A36F9}" destId="{2D612181-86BE-42DF-B0C0-83C5CE48BEBE}" srcOrd="2" destOrd="0" presId="urn:diagrams.loki3.com/BracketList"/>
    <dgm:cxn modelId="{4E1758A5-24C4-4684-A973-DDE7D5C3D811}" type="presParOf" srcId="{79C6ACE2-EAD3-40F1-A40D-7C08DA6A36F9}" destId="{B846999F-8B22-4EFB-AAE0-C9D0AFC0A833}" srcOrd="3" destOrd="0" presId="urn:diagrams.loki3.com/BracketLis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12.xml><?xml version="1.0" encoding="utf-8"?>
<dgm:dataModel xmlns:dgm="http://schemas.openxmlformats.org/drawingml/2006/diagram" xmlns:a="http://schemas.openxmlformats.org/drawingml/2006/main">
  <dgm:ptLst>
    <dgm:pt modelId="{3985AF7C-53D6-44AD-87E4-4EA338F4D7FA}" type="doc">
      <dgm:prSet loTypeId="urn:microsoft.com/office/officeart/2018/5/layout/IconLeafLabelList" loCatId="icon" qsTypeId="urn:microsoft.com/office/officeart/2005/8/quickstyle/simple1" qsCatId="simple" csTypeId="urn:microsoft.com/office/officeart/2005/8/colors/accent2_2" csCatId="accent2" phldr="1"/>
      <dgm:spPr/>
      <dgm:t>
        <a:bodyPr/>
        <a:lstStyle/>
        <a:p>
          <a:endParaRPr lang="en-US"/>
        </a:p>
      </dgm:t>
    </dgm:pt>
    <dgm:pt modelId="{C2A297BC-DA42-4860-A108-8EE79AEB2CA0}" type="parTrans" cxnId="{E19E250D-272A-4116-827F-B93557A60EBB}">
      <dgm:prSet/>
      <dgm:spPr/>
      <dgm:t>
        <a:bodyPr/>
        <a:lstStyle/>
        <a:p>
          <a:endParaRPr lang="en-US"/>
        </a:p>
      </dgm:t>
    </dgm:pt>
    <dgm:pt modelId="{EBD060C5-95F5-4EE7-A21D-4D675CDEDCC3}">
      <dgm:prSet custT="1"/>
      <dgm:spPr>
        <a:noFill/>
        <a:ln>
          <a:noFill/>
        </a:ln>
      </dgm:spPr>
      <dgm:t>
        <a:bodyPr/>
        <a:lstStyle/>
        <a:p>
          <a:pPr>
            <a:defRPr cap="all"/>
          </a:pPr>
          <a:r>
            <a:rPr lang="de" sz="1110" b="0" i="0" strike="noStrike" cap="all" spc="0" baseline="0">
              <a:solidFill>
                <a:srgbClr val="000000"/>
              </a:solidFill>
              <a:effectLst/>
              <a:latin typeface="Calibri"/>
              <a:ea typeface="Calibri"/>
              <a:cs typeface="Calibri"/>
            </a:rPr>
            <a:t>Disrupt, konfrontiert, unterstützt – aber nur iF angemessen!</a:t>
          </a:r>
          <a:endParaRPr lang="en-US"/>
        </a:p>
      </dgm:t>
    </dgm:pt>
    <dgm:pt modelId="{08F2C995-22F9-446E-8812-A0D5B508C4C6}" type="sibTrans" cxnId="{E19E250D-272A-4116-827F-B93557A60EBB}">
      <dgm:prSet/>
      <dgm:spPr/>
      <dgm:t>
        <a:bodyPr/>
        <a:lstStyle/>
        <a:p>
          <a:endParaRPr lang="en-US"/>
        </a:p>
      </dgm:t>
    </dgm:pt>
    <dgm:pt modelId="{C06B86FE-9873-4154-8479-7797CFC38831}" type="parTrans" cxnId="{8F3D8E85-D3DE-440A-BD9F-716925FE72C7}">
      <dgm:prSet/>
      <dgm:spPr/>
      <dgm:t>
        <a:bodyPr/>
        <a:lstStyle/>
        <a:p>
          <a:endParaRPr lang="en-US"/>
        </a:p>
      </dgm:t>
    </dgm:pt>
    <dgm:pt modelId="{215514A5-DF66-4904-9406-77784F162B95}">
      <dgm:prSet custT="1"/>
      <dgm:spPr>
        <a:noFill/>
        <a:ln>
          <a:noFill/>
        </a:ln>
      </dgm:spPr>
      <dgm:t>
        <a:bodyPr/>
        <a:lstStyle/>
        <a:p>
          <a:pPr>
            <a:defRPr cap="all"/>
          </a:pPr>
          <a:r>
            <a:rPr lang="de" sz="1110" b="0" i="0" strike="noStrike" cap="all" spc="0" baseline="0">
              <a:solidFill>
                <a:srgbClr val="000000"/>
              </a:solidFill>
              <a:effectLst/>
              <a:latin typeface="Calibri"/>
              <a:ea typeface="Calibri"/>
              <a:cs typeface="Calibri"/>
            </a:rPr>
            <a:t>Wir möchten wissen, ob Sie glauben, dass das Verhalten einer Person unangemessen oder rechtswidrig ist. </a:t>
          </a:r>
          <a:endParaRPr lang="en-US"/>
        </a:p>
      </dgm:t>
    </dgm:pt>
    <dgm:pt modelId="{B250ECC4-DD4B-44B9-9935-6E9734B98612}" type="sibTrans" cxnId="{8F3D8E85-D3DE-440A-BD9F-716925FE72C7}">
      <dgm:prSet/>
      <dgm:spPr/>
      <dgm:t>
        <a:bodyPr/>
        <a:lstStyle/>
        <a:p>
          <a:endParaRPr lang="en-US"/>
        </a:p>
      </dgm:t>
    </dgm:pt>
    <dgm:pt modelId="{56605AA0-B23C-41CB-A9E9-FB42C77D3F9B}" type="parTrans" cxnId="{010344D3-D4AA-42CE-AE6B-163F73615CED}">
      <dgm:prSet/>
      <dgm:spPr/>
      <dgm:t>
        <a:bodyPr/>
        <a:lstStyle/>
        <a:p>
          <a:endParaRPr lang="en-US"/>
        </a:p>
      </dgm:t>
    </dgm:pt>
    <dgm:pt modelId="{22C75CE3-3B87-4E45-A239-769E3391166C}">
      <dgm:prSet custT="1"/>
      <dgm:spPr>
        <a:noFill/>
        <a:ln>
          <a:noFill/>
        </a:ln>
      </dgm:spPr>
      <dgm:t>
        <a:bodyPr/>
        <a:lstStyle/>
        <a:p>
          <a:pPr>
            <a:defRPr cap="all"/>
          </a:pPr>
          <a:r>
            <a:rPr lang="de" sz="1110" b="0" i="0" strike="noStrike" cap="all" spc="0" baseline="0">
              <a:solidFill>
                <a:srgbClr val="000000"/>
              </a:solidFill>
              <a:effectLst/>
              <a:latin typeface="Calibri"/>
              <a:ea typeface="Calibri"/>
              <a:cs typeface="Calibri"/>
            </a:rPr>
            <a:t>Alle Beschwerden werden ernst genommen, untersucht und gegebenenfalls bearbeitet. </a:t>
          </a:r>
          <a:endParaRPr lang="en-US"/>
        </a:p>
      </dgm:t>
    </dgm:pt>
    <dgm:pt modelId="{873C7F80-16FF-4C2A-9AB6-7A5889C0339F}" type="sibTrans" cxnId="{010344D3-D4AA-42CE-AE6B-163F73615CED}">
      <dgm:prSet/>
      <dgm:spPr/>
      <dgm:t>
        <a:bodyPr/>
        <a:lstStyle/>
        <a:p>
          <a:endParaRPr lang="en-US"/>
        </a:p>
      </dgm:t>
    </dgm:pt>
    <dgm:pt modelId="{F47EF451-94B4-4BD6-A5AE-ADAECA63667A}" type="parTrans" cxnId="{5A130479-F303-45E6-BA42-3CBDBF483E39}">
      <dgm:prSet/>
      <dgm:spPr/>
      <dgm:t>
        <a:bodyPr/>
        <a:lstStyle/>
        <a:p>
          <a:endParaRPr lang="en-US"/>
        </a:p>
      </dgm:t>
    </dgm:pt>
    <dgm:pt modelId="{544412E3-BEF3-41AF-9D5A-7DA5FBAE64B4}">
      <dgm:prSet custT="1"/>
      <dgm:spPr>
        <a:noFill/>
        <a:ln>
          <a:noFill/>
        </a:ln>
      </dgm:spPr>
      <dgm:t>
        <a:bodyPr/>
        <a:lstStyle/>
        <a:p>
          <a:pPr>
            <a:defRPr cap="all"/>
          </a:pPr>
          <a:r>
            <a:rPr lang="de" sz="1110" b="0" i="0" strike="noStrike" cap="all" spc="0" baseline="0">
              <a:solidFill>
                <a:srgbClr val="000000"/>
              </a:solidFill>
              <a:effectLst/>
              <a:latin typeface="Calibri"/>
              <a:ea typeface="Calibri"/>
              <a:cs typeface="Calibri"/>
            </a:rPr>
            <a:t>Wenden Sie sich an Ihren Vorgesetzten, die lokale Personalabteilung, das RPM-Compliance-Team oder die Hotline.</a:t>
          </a:r>
          <a:endParaRPr lang="en-US"/>
        </a:p>
      </dgm:t>
    </dgm:pt>
    <dgm:pt modelId="{32D20FFA-0D8A-4FAF-9CB1-AE232A3FCBE7}" type="sibTrans" cxnId="{5A130479-F303-45E6-BA42-3CBDBF483E39}">
      <dgm:prSet/>
      <dgm:spPr/>
      <dgm:t>
        <a:bodyPr/>
        <a:lstStyle/>
        <a:p>
          <a:endParaRPr lang="en-US"/>
        </a:p>
      </dgm:t>
    </dgm:pt>
    <dgm:pt modelId="{F99DBA00-032E-4B6D-BCA8-3FF88387C013}" type="pres">
      <dgm:prSet presAssocID="{3985AF7C-53D6-44AD-87E4-4EA338F4D7FA}" presName="root" presStyleCnt="0">
        <dgm:presLayoutVars>
          <dgm:dir/>
          <dgm:resizeHandles val="exact"/>
        </dgm:presLayoutVars>
      </dgm:prSet>
      <dgm:spPr/>
    </dgm:pt>
    <dgm:pt modelId="{786B84CB-C00B-40AB-8D9F-DE78A427A091}" type="pres">
      <dgm:prSet presAssocID="{EBD060C5-95F5-4EE7-A21D-4D675CDEDCC3}" presName="compNode" presStyleCnt="0"/>
      <dgm:spPr/>
    </dgm:pt>
    <dgm:pt modelId="{073D0F38-1697-4DDF-87B5-31AB4FDDCA6E}" type="pres">
      <dgm:prSet presAssocID="{EBD060C5-95F5-4EE7-A21D-4D675CDEDCC3}" presName="iconBgRect" presStyleLbl="bgShp" presStyleIdx="0" presStyleCnt="4"/>
      <dgm:spPr>
        <a:prstGeom prst="round2DiagRect">
          <a:avLst>
            <a:gd name="adj1" fmla="val 29727"/>
            <a:gd name="adj2" fmla="val 0"/>
          </a:avLst>
        </a:prstGeom>
        <a:solidFill>
          <a:schemeClr val="accent2">
            <a:tint val="40000"/>
            <a:hueOff val="0"/>
            <a:satOff val="0"/>
            <a:lumOff val="0"/>
            <a:alphaOff val="0"/>
          </a:schemeClr>
        </a:solidFill>
        <a:ln>
          <a:noFill/>
        </a:ln>
      </dgm:spPr>
    </dgm:pt>
    <dgm:pt modelId="{972CB9A9-E8F4-48A6-863C-3857BF4A1898}" type="pres">
      <dgm:prSet presAssocID="{EBD060C5-95F5-4EE7-A21D-4D675CDEDCC3}"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No sign"/>
        </a:ext>
      </dgm:extLst>
    </dgm:pt>
    <dgm:pt modelId="{0F2B5B2A-8E93-4FB1-A7B8-4DBAF9E36D1F}" type="pres">
      <dgm:prSet presAssocID="{EBD060C5-95F5-4EE7-A21D-4D675CDEDCC3}" presName="spaceRect" presStyleCnt="0"/>
      <dgm:spPr/>
    </dgm:pt>
    <dgm:pt modelId="{6AA18965-2D4D-4724-835A-2A765ACE07BF}" type="pres">
      <dgm:prSet presAssocID="{EBD060C5-95F5-4EE7-A21D-4D675CDEDCC3}" presName="textRect" presStyleLbl="revTx" presStyleIdx="0" presStyleCnt="4">
        <dgm:presLayoutVars>
          <dgm:chMax val="1"/>
          <dgm:chPref val="1"/>
        </dgm:presLayoutVars>
      </dgm:prSet>
      <dgm:spPr/>
    </dgm:pt>
    <dgm:pt modelId="{8760EC41-2AED-4DF9-BBCD-2EB65F816AD5}" type="pres">
      <dgm:prSet presAssocID="{08F2C995-22F9-446E-8812-A0D5B508C4C6}" presName="sibTrans" presStyleCnt="0"/>
      <dgm:spPr/>
    </dgm:pt>
    <dgm:pt modelId="{3622DCD7-14D2-4476-A1D7-9FC0F2DF9AEC}" type="pres">
      <dgm:prSet presAssocID="{215514A5-DF66-4904-9406-77784F162B95}" presName="compNode" presStyleCnt="0"/>
      <dgm:spPr/>
    </dgm:pt>
    <dgm:pt modelId="{71CADC7A-C1B0-44C3-93BB-21CE4C51B4F2}" type="pres">
      <dgm:prSet presAssocID="{215514A5-DF66-4904-9406-77784F162B95}" presName="iconBgRect" presStyleLbl="bgShp" presStyleIdx="1" presStyleCnt="4"/>
      <dgm:spPr>
        <a:prstGeom prst="round2DiagRect">
          <a:avLst>
            <a:gd name="adj1" fmla="val 29727"/>
            <a:gd name="adj2" fmla="val 0"/>
          </a:avLst>
        </a:prstGeom>
        <a:solidFill>
          <a:schemeClr val="accent2">
            <a:tint val="40000"/>
            <a:hueOff val="0"/>
            <a:satOff val="0"/>
            <a:lumOff val="0"/>
            <a:alphaOff val="0"/>
          </a:schemeClr>
        </a:solidFill>
        <a:ln>
          <a:noFill/>
        </a:ln>
      </dgm:spPr>
    </dgm:pt>
    <dgm:pt modelId="{CE7A4B8A-9FB1-49BB-AD5F-E16F4D6B1202}" type="pres">
      <dgm:prSet presAssocID="{215514A5-DF66-4904-9406-77784F162B95}"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Irritant"/>
        </a:ext>
      </dgm:extLst>
    </dgm:pt>
    <dgm:pt modelId="{77223BB5-08AB-4699-B274-66F6273C5AEC}" type="pres">
      <dgm:prSet presAssocID="{215514A5-DF66-4904-9406-77784F162B95}" presName="spaceRect" presStyleCnt="0"/>
      <dgm:spPr/>
    </dgm:pt>
    <dgm:pt modelId="{6FF8B6D1-5618-4F35-9FB1-447D4C8D3EB4}" type="pres">
      <dgm:prSet presAssocID="{215514A5-DF66-4904-9406-77784F162B95}" presName="textRect" presStyleLbl="revTx" presStyleIdx="1" presStyleCnt="4">
        <dgm:presLayoutVars>
          <dgm:chMax val="1"/>
          <dgm:chPref val="1"/>
        </dgm:presLayoutVars>
      </dgm:prSet>
      <dgm:spPr/>
    </dgm:pt>
    <dgm:pt modelId="{EAB3F13C-5F23-491D-9F8A-D25748D3216F}" type="pres">
      <dgm:prSet presAssocID="{B250ECC4-DD4B-44B9-9935-6E9734B98612}" presName="sibTrans" presStyleCnt="0"/>
      <dgm:spPr/>
    </dgm:pt>
    <dgm:pt modelId="{0F7AB7E7-3384-4E1C-A41F-020CE1D72EA1}" type="pres">
      <dgm:prSet presAssocID="{22C75CE3-3B87-4E45-A239-769E3391166C}" presName="compNode" presStyleCnt="0"/>
      <dgm:spPr/>
    </dgm:pt>
    <dgm:pt modelId="{1FE7E204-545F-440C-8C97-4A51872D9726}" type="pres">
      <dgm:prSet presAssocID="{22C75CE3-3B87-4E45-A239-769E3391166C}" presName="iconBgRect" presStyleLbl="bgShp" presStyleIdx="2" presStyleCnt="4"/>
      <dgm:spPr>
        <a:prstGeom prst="round2DiagRect">
          <a:avLst>
            <a:gd name="adj1" fmla="val 29727"/>
            <a:gd name="adj2" fmla="val 0"/>
          </a:avLst>
        </a:prstGeom>
        <a:solidFill>
          <a:schemeClr val="accent2">
            <a:tint val="40000"/>
            <a:hueOff val="0"/>
            <a:satOff val="0"/>
            <a:lumOff val="0"/>
            <a:alphaOff val="0"/>
          </a:schemeClr>
        </a:solidFill>
        <a:ln>
          <a:noFill/>
        </a:ln>
      </dgm:spPr>
    </dgm:pt>
    <dgm:pt modelId="{85FF4209-844A-4978-977D-D9B2596F75E9}" type="pres">
      <dgm:prSet presAssocID="{22C75CE3-3B87-4E45-A239-769E3391166C}"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Judge"/>
        </a:ext>
      </dgm:extLst>
    </dgm:pt>
    <dgm:pt modelId="{19232F93-B28C-4008-9D2C-5CC2B171F6BF}" type="pres">
      <dgm:prSet presAssocID="{22C75CE3-3B87-4E45-A239-769E3391166C}" presName="spaceRect" presStyleCnt="0"/>
      <dgm:spPr/>
    </dgm:pt>
    <dgm:pt modelId="{30BC5A38-EAF4-4B1E-9660-0ECB3613D90C}" type="pres">
      <dgm:prSet presAssocID="{22C75CE3-3B87-4E45-A239-769E3391166C}" presName="textRect" presStyleLbl="revTx" presStyleIdx="2" presStyleCnt="4">
        <dgm:presLayoutVars>
          <dgm:chMax val="1"/>
          <dgm:chPref val="1"/>
        </dgm:presLayoutVars>
      </dgm:prSet>
      <dgm:spPr/>
    </dgm:pt>
    <dgm:pt modelId="{E20E414B-C7F7-4B94-A0E0-F90A48E33FBB}" type="pres">
      <dgm:prSet presAssocID="{873C7F80-16FF-4C2A-9AB6-7A5889C0339F}" presName="sibTrans" presStyleCnt="0"/>
      <dgm:spPr/>
    </dgm:pt>
    <dgm:pt modelId="{4B26835B-4D7D-49AA-8750-6FD0C36A7C28}" type="pres">
      <dgm:prSet presAssocID="{544412E3-BEF3-41AF-9D5A-7DA5FBAE64B4}" presName="compNode" presStyleCnt="0"/>
      <dgm:spPr/>
    </dgm:pt>
    <dgm:pt modelId="{10143779-9C38-42BF-84D1-1850484485B4}" type="pres">
      <dgm:prSet presAssocID="{544412E3-BEF3-41AF-9D5A-7DA5FBAE64B4}" presName="iconBgRect" presStyleLbl="bgShp" presStyleIdx="3" presStyleCnt="4"/>
      <dgm:spPr>
        <a:prstGeom prst="round2DiagRect">
          <a:avLst>
            <a:gd name="adj1" fmla="val 29727"/>
            <a:gd name="adj2" fmla="val 0"/>
          </a:avLst>
        </a:prstGeom>
        <a:solidFill>
          <a:schemeClr val="accent2">
            <a:tint val="40000"/>
            <a:hueOff val="0"/>
            <a:satOff val="0"/>
            <a:lumOff val="0"/>
            <a:alphaOff val="0"/>
          </a:schemeClr>
        </a:solidFill>
        <a:ln>
          <a:noFill/>
        </a:ln>
      </dgm:spPr>
    </dgm:pt>
    <dgm:pt modelId="{537D5008-931D-4678-B3D6-809AC5E131FA}" type="pres">
      <dgm:prSet presAssocID="{544412E3-BEF3-41AF-9D5A-7DA5FBAE64B4}"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User Network"/>
        </a:ext>
      </dgm:extLst>
    </dgm:pt>
    <dgm:pt modelId="{3D256092-D4EE-4D98-9242-1FDD6ED656DA}" type="pres">
      <dgm:prSet presAssocID="{544412E3-BEF3-41AF-9D5A-7DA5FBAE64B4}" presName="spaceRect" presStyleCnt="0"/>
      <dgm:spPr/>
    </dgm:pt>
    <dgm:pt modelId="{6CB0CDB9-D0AE-470D-ABFC-DED3FE7A9B30}" type="pres">
      <dgm:prSet presAssocID="{544412E3-BEF3-41AF-9D5A-7DA5FBAE64B4}" presName="textRect" presStyleLbl="revTx" presStyleIdx="3" presStyleCnt="4">
        <dgm:presLayoutVars>
          <dgm:chMax val="1"/>
          <dgm:chPref val="1"/>
        </dgm:presLayoutVars>
      </dgm:prSet>
      <dgm:spPr/>
    </dgm:pt>
  </dgm:ptLst>
  <dgm:cxnLst>
    <dgm:cxn modelId="{E19E250D-272A-4116-827F-B93557A60EBB}" srcId="{3985AF7C-53D6-44AD-87E4-4EA338F4D7FA}" destId="{EBD060C5-95F5-4EE7-A21D-4D675CDEDCC3}" srcOrd="0" destOrd="0" parTransId="{C2A297BC-DA42-4860-A108-8EE79AEB2CA0}" sibTransId="{08F2C995-22F9-446E-8812-A0D5B508C4C6}"/>
    <dgm:cxn modelId="{F4AC2932-2CAC-4C1A-B419-7622E30379BB}" type="presOf" srcId="{EBD060C5-95F5-4EE7-A21D-4D675CDEDCC3}" destId="{6AA18965-2D4D-4724-835A-2A765ACE07BF}" srcOrd="0" destOrd="0" presId="urn:microsoft.com/office/officeart/2018/5/layout/IconLeafLabelList"/>
    <dgm:cxn modelId="{5A130479-F303-45E6-BA42-3CBDBF483E39}" srcId="{3985AF7C-53D6-44AD-87E4-4EA338F4D7FA}" destId="{544412E3-BEF3-41AF-9D5A-7DA5FBAE64B4}" srcOrd="3" destOrd="0" parTransId="{F47EF451-94B4-4BD6-A5AE-ADAECA63667A}" sibTransId="{32D20FFA-0D8A-4FAF-9CB1-AE232A3FCBE7}"/>
    <dgm:cxn modelId="{8F3D8E85-D3DE-440A-BD9F-716925FE72C7}" srcId="{3985AF7C-53D6-44AD-87E4-4EA338F4D7FA}" destId="{215514A5-DF66-4904-9406-77784F162B95}" srcOrd="1" destOrd="0" parTransId="{C06B86FE-9873-4154-8479-7797CFC38831}" sibTransId="{B250ECC4-DD4B-44B9-9935-6E9734B98612}"/>
    <dgm:cxn modelId="{1A3A0D87-6115-47C8-A532-C5F8FDF7150C}" type="presOf" srcId="{22C75CE3-3B87-4E45-A239-769E3391166C}" destId="{30BC5A38-EAF4-4B1E-9660-0ECB3613D90C}" srcOrd="0" destOrd="0" presId="urn:microsoft.com/office/officeart/2018/5/layout/IconLeafLabelList"/>
    <dgm:cxn modelId="{6829259C-B6BB-482E-A951-F256D211295D}" type="presOf" srcId="{544412E3-BEF3-41AF-9D5A-7DA5FBAE64B4}" destId="{6CB0CDB9-D0AE-470D-ABFC-DED3FE7A9B30}" srcOrd="0" destOrd="0" presId="urn:microsoft.com/office/officeart/2018/5/layout/IconLeafLabelList"/>
    <dgm:cxn modelId="{E857C4A9-2405-452C-AE70-45F8E20F6E74}" type="presOf" srcId="{215514A5-DF66-4904-9406-77784F162B95}" destId="{6FF8B6D1-5618-4F35-9FB1-447D4C8D3EB4}" srcOrd="0" destOrd="0" presId="urn:microsoft.com/office/officeart/2018/5/layout/IconLeafLabelList"/>
    <dgm:cxn modelId="{010344D3-D4AA-42CE-AE6B-163F73615CED}" srcId="{3985AF7C-53D6-44AD-87E4-4EA338F4D7FA}" destId="{22C75CE3-3B87-4E45-A239-769E3391166C}" srcOrd="2" destOrd="0" parTransId="{56605AA0-B23C-41CB-A9E9-FB42C77D3F9B}" sibTransId="{873C7F80-16FF-4C2A-9AB6-7A5889C0339F}"/>
    <dgm:cxn modelId="{420565D7-AB61-4406-9AE1-744B0BCC0010}" type="presOf" srcId="{3985AF7C-53D6-44AD-87E4-4EA338F4D7FA}" destId="{F99DBA00-032E-4B6D-BCA8-3FF88387C013}" srcOrd="0" destOrd="0" presId="urn:microsoft.com/office/officeart/2018/5/layout/IconLeafLabelList"/>
    <dgm:cxn modelId="{9C87CCDD-4608-4FA6-8197-BF0582021B64}" type="presParOf" srcId="{F99DBA00-032E-4B6D-BCA8-3FF88387C013}" destId="{786B84CB-C00B-40AB-8D9F-DE78A427A091}" srcOrd="0" destOrd="0" presId="urn:microsoft.com/office/officeart/2018/5/layout/IconLeafLabelList"/>
    <dgm:cxn modelId="{F7198009-8E27-4D47-8A7C-B866FAC31338}" type="presParOf" srcId="{786B84CB-C00B-40AB-8D9F-DE78A427A091}" destId="{073D0F38-1697-4DDF-87B5-31AB4FDDCA6E}" srcOrd="0" destOrd="0" presId="urn:microsoft.com/office/officeart/2018/5/layout/IconLeafLabelList"/>
    <dgm:cxn modelId="{15C548CE-6AA9-4B16-9BA5-9C1B7A0585D8}" type="presParOf" srcId="{786B84CB-C00B-40AB-8D9F-DE78A427A091}" destId="{972CB9A9-E8F4-48A6-863C-3857BF4A1898}" srcOrd="1" destOrd="0" presId="urn:microsoft.com/office/officeart/2018/5/layout/IconLeafLabelList"/>
    <dgm:cxn modelId="{69C2569B-2B9B-4D5A-BE3F-8F08FD48A99A}" type="presParOf" srcId="{786B84CB-C00B-40AB-8D9F-DE78A427A091}" destId="{0F2B5B2A-8E93-4FB1-A7B8-4DBAF9E36D1F}" srcOrd="2" destOrd="0" presId="urn:microsoft.com/office/officeart/2018/5/layout/IconLeafLabelList"/>
    <dgm:cxn modelId="{2E6DD344-7776-4B1A-89CE-3A7273266A33}" type="presParOf" srcId="{786B84CB-C00B-40AB-8D9F-DE78A427A091}" destId="{6AA18965-2D4D-4724-835A-2A765ACE07BF}" srcOrd="3" destOrd="0" presId="urn:microsoft.com/office/officeart/2018/5/layout/IconLeafLabelList"/>
    <dgm:cxn modelId="{0526C36A-09C0-4379-A12B-F323CF2BFEE3}" type="presParOf" srcId="{F99DBA00-032E-4B6D-BCA8-3FF88387C013}" destId="{8760EC41-2AED-4DF9-BBCD-2EB65F816AD5}" srcOrd="1" destOrd="0" presId="urn:microsoft.com/office/officeart/2018/5/layout/IconLeafLabelList"/>
    <dgm:cxn modelId="{DCC385D3-C808-449B-8420-36A053B1AFB5}" type="presParOf" srcId="{F99DBA00-032E-4B6D-BCA8-3FF88387C013}" destId="{3622DCD7-14D2-4476-A1D7-9FC0F2DF9AEC}" srcOrd="2" destOrd="0" presId="urn:microsoft.com/office/officeart/2018/5/layout/IconLeafLabelList"/>
    <dgm:cxn modelId="{3135E04F-6191-4827-BA9A-2AC435765BA6}" type="presParOf" srcId="{3622DCD7-14D2-4476-A1D7-9FC0F2DF9AEC}" destId="{71CADC7A-C1B0-44C3-93BB-21CE4C51B4F2}" srcOrd="0" destOrd="0" presId="urn:microsoft.com/office/officeart/2018/5/layout/IconLeafLabelList"/>
    <dgm:cxn modelId="{BBB187E3-BEA5-41B5-A5DC-2A71BCDF0244}" type="presParOf" srcId="{3622DCD7-14D2-4476-A1D7-9FC0F2DF9AEC}" destId="{CE7A4B8A-9FB1-49BB-AD5F-E16F4D6B1202}" srcOrd="1" destOrd="0" presId="urn:microsoft.com/office/officeart/2018/5/layout/IconLeafLabelList"/>
    <dgm:cxn modelId="{469C68CC-C897-4107-B561-F33155D84AB4}" type="presParOf" srcId="{3622DCD7-14D2-4476-A1D7-9FC0F2DF9AEC}" destId="{77223BB5-08AB-4699-B274-66F6273C5AEC}" srcOrd="2" destOrd="0" presId="urn:microsoft.com/office/officeart/2018/5/layout/IconLeafLabelList"/>
    <dgm:cxn modelId="{2974125E-DD32-4148-804F-76DD566A4EFA}" type="presParOf" srcId="{3622DCD7-14D2-4476-A1D7-9FC0F2DF9AEC}" destId="{6FF8B6D1-5618-4F35-9FB1-447D4C8D3EB4}" srcOrd="3" destOrd="0" presId="urn:microsoft.com/office/officeart/2018/5/layout/IconLeafLabelList"/>
    <dgm:cxn modelId="{7CDC4536-24F7-4332-8CF2-F81AF2EC3573}" type="presParOf" srcId="{F99DBA00-032E-4B6D-BCA8-3FF88387C013}" destId="{EAB3F13C-5F23-491D-9F8A-D25748D3216F}" srcOrd="3" destOrd="0" presId="urn:microsoft.com/office/officeart/2018/5/layout/IconLeafLabelList"/>
    <dgm:cxn modelId="{BD982EF8-750D-4FEA-AA20-6C6F4237B401}" type="presParOf" srcId="{F99DBA00-032E-4B6D-BCA8-3FF88387C013}" destId="{0F7AB7E7-3384-4E1C-A41F-020CE1D72EA1}" srcOrd="4" destOrd="0" presId="urn:microsoft.com/office/officeart/2018/5/layout/IconLeafLabelList"/>
    <dgm:cxn modelId="{BE19B88A-5B66-4CE4-BE23-69821D487AD1}" type="presParOf" srcId="{0F7AB7E7-3384-4E1C-A41F-020CE1D72EA1}" destId="{1FE7E204-545F-440C-8C97-4A51872D9726}" srcOrd="0" destOrd="0" presId="urn:microsoft.com/office/officeart/2018/5/layout/IconLeafLabelList"/>
    <dgm:cxn modelId="{096D8D65-E889-4251-A799-B6EC0B35DDF9}" type="presParOf" srcId="{0F7AB7E7-3384-4E1C-A41F-020CE1D72EA1}" destId="{85FF4209-844A-4978-977D-D9B2596F75E9}" srcOrd="1" destOrd="0" presId="urn:microsoft.com/office/officeart/2018/5/layout/IconLeafLabelList"/>
    <dgm:cxn modelId="{2211F02C-DDBC-4306-B611-A66EA7D9C0C7}" type="presParOf" srcId="{0F7AB7E7-3384-4E1C-A41F-020CE1D72EA1}" destId="{19232F93-B28C-4008-9D2C-5CC2B171F6BF}" srcOrd="2" destOrd="0" presId="urn:microsoft.com/office/officeart/2018/5/layout/IconLeafLabelList"/>
    <dgm:cxn modelId="{F11610E3-8997-4276-A2B4-6E1766BA39F6}" type="presParOf" srcId="{0F7AB7E7-3384-4E1C-A41F-020CE1D72EA1}" destId="{30BC5A38-EAF4-4B1E-9660-0ECB3613D90C}" srcOrd="3" destOrd="0" presId="urn:microsoft.com/office/officeart/2018/5/layout/IconLeafLabelList"/>
    <dgm:cxn modelId="{E7D302E3-607F-491C-80DC-0C737DC206B7}" type="presParOf" srcId="{F99DBA00-032E-4B6D-BCA8-3FF88387C013}" destId="{E20E414B-C7F7-4B94-A0E0-F90A48E33FBB}" srcOrd="5" destOrd="0" presId="urn:microsoft.com/office/officeart/2018/5/layout/IconLeafLabelList"/>
    <dgm:cxn modelId="{8D2C7DD8-9B4E-465A-ACBF-C2EA060E6B0B}" type="presParOf" srcId="{F99DBA00-032E-4B6D-BCA8-3FF88387C013}" destId="{4B26835B-4D7D-49AA-8750-6FD0C36A7C28}" srcOrd="6" destOrd="0" presId="urn:microsoft.com/office/officeart/2018/5/layout/IconLeafLabelList"/>
    <dgm:cxn modelId="{CE038C0F-28D0-4E1C-8DC0-BF8433D428E6}" type="presParOf" srcId="{4B26835B-4D7D-49AA-8750-6FD0C36A7C28}" destId="{10143779-9C38-42BF-84D1-1850484485B4}" srcOrd="0" destOrd="0" presId="urn:microsoft.com/office/officeart/2018/5/layout/IconLeafLabelList"/>
    <dgm:cxn modelId="{2E2C9591-FBE0-448A-B98A-76618B430D0B}" type="presParOf" srcId="{4B26835B-4D7D-49AA-8750-6FD0C36A7C28}" destId="{537D5008-931D-4678-B3D6-809AC5E131FA}" srcOrd="1" destOrd="0" presId="urn:microsoft.com/office/officeart/2018/5/layout/IconLeafLabelList"/>
    <dgm:cxn modelId="{C0E158D9-D33D-4379-A57B-7019EB025BDD}" type="presParOf" srcId="{4B26835B-4D7D-49AA-8750-6FD0C36A7C28}" destId="{3D256092-D4EE-4D98-9242-1FDD6ED656DA}" srcOrd="2" destOrd="0" presId="urn:microsoft.com/office/officeart/2018/5/layout/IconLeafLabelList"/>
    <dgm:cxn modelId="{D1BC1ABB-445F-4A1B-9DE2-68DCB07CA600}" type="presParOf" srcId="{4B26835B-4D7D-49AA-8750-6FD0C36A7C28}" destId="{6CB0CDB9-D0AE-470D-ABFC-DED3FE7A9B30}" srcOrd="3" destOrd="0" presId="urn:microsoft.com/office/officeart/2018/5/layout/IconLeafLabelLis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13.xml><?xml version="1.0" encoding="utf-8"?>
<dgm:dataModel xmlns:dgm="http://schemas.openxmlformats.org/drawingml/2006/diagram" xmlns:a="http://schemas.openxmlformats.org/drawingml/2006/main">
  <dgm:ptLst>
    <dgm:pt modelId="{847EA9A9-2A7E-4FE6-BE29-8DF151ECBC7E}"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B397E0D1-58FC-466E-A76A-0F9A90D32313}" type="parTrans" cxnId="{5B6BA8DA-4519-4943-99AC-05B700372E24}">
      <dgm:prSet/>
      <dgm:spPr/>
      <dgm:t>
        <a:bodyPr/>
        <a:lstStyle/>
        <a:p>
          <a:endParaRPr lang="en-US"/>
        </a:p>
      </dgm:t>
    </dgm:pt>
    <dgm:pt modelId="{79707194-1D02-4749-851A-78251A8D6A8E}">
      <dgm:prSet custT="1"/>
      <dgm:spPr>
        <a:noFill/>
        <a:ln>
          <a:noFill/>
        </a:ln>
      </dgm:spPr>
      <dgm:t>
        <a:bodyPr/>
        <a:lstStyle/>
        <a:p>
          <a:pPr>
            <a:lnSpc>
              <a:spcPct val="100000"/>
            </a:lnSpc>
          </a:pPr>
          <a:r>
            <a:rPr lang="de" sz="1600" b="0" i="0" strike="noStrike" cap="none" spc="0" baseline="0">
              <a:solidFill>
                <a:srgbClr val="000000"/>
              </a:solidFill>
              <a:effectLst/>
              <a:latin typeface="Calibri"/>
              <a:ea typeface="Calibri"/>
              <a:cs typeface="Calibri"/>
            </a:rPr>
            <a:t>Entlassung</a:t>
          </a:r>
          <a:endParaRPr lang="en-US"/>
        </a:p>
      </dgm:t>
    </dgm:pt>
    <dgm:pt modelId="{CE8F1689-E460-49B6-A0B4-2F42C7441D1E}" type="sibTrans" cxnId="{5B6BA8DA-4519-4943-99AC-05B700372E24}">
      <dgm:prSet/>
      <dgm:spPr/>
      <dgm:t>
        <a:bodyPr/>
        <a:lstStyle/>
        <a:p>
          <a:endParaRPr lang="en-US"/>
        </a:p>
      </dgm:t>
    </dgm:pt>
    <dgm:pt modelId="{AC4E4FE5-E6E9-4735-AABB-0C6819A38BD3}" type="parTrans" cxnId="{A3DCA9AE-A087-4028-8BD5-6CC95BBE935E}">
      <dgm:prSet/>
      <dgm:spPr/>
      <dgm:t>
        <a:bodyPr/>
        <a:lstStyle/>
        <a:p>
          <a:endParaRPr lang="en-US"/>
        </a:p>
      </dgm:t>
    </dgm:pt>
    <dgm:pt modelId="{75B6AE6A-9B0F-4ADC-B232-83EB04025669}">
      <dgm:prSet custT="1"/>
      <dgm:spPr>
        <a:noFill/>
        <a:ln>
          <a:noFill/>
        </a:ln>
      </dgm:spPr>
      <dgm:t>
        <a:bodyPr/>
        <a:lstStyle/>
        <a:p>
          <a:pPr>
            <a:lnSpc>
              <a:spcPct val="100000"/>
            </a:lnSpc>
          </a:pPr>
          <a:r>
            <a:rPr lang="de" sz="1600" b="0" i="0" strike="noStrike" cap="none" spc="0" baseline="0">
              <a:solidFill>
                <a:srgbClr val="000000"/>
              </a:solidFill>
              <a:effectLst/>
              <a:latin typeface="Calibri"/>
              <a:ea typeface="Calibri"/>
              <a:cs typeface="Calibri"/>
            </a:rPr>
            <a:t>Herabstufung</a:t>
          </a:r>
          <a:endParaRPr lang="en-US"/>
        </a:p>
      </dgm:t>
    </dgm:pt>
    <dgm:pt modelId="{55B0ED60-47A9-4C9D-BED3-2A9BE70A9BE5}" type="sibTrans" cxnId="{A3DCA9AE-A087-4028-8BD5-6CC95BBE935E}">
      <dgm:prSet/>
      <dgm:spPr/>
      <dgm:t>
        <a:bodyPr/>
        <a:lstStyle/>
        <a:p>
          <a:endParaRPr lang="en-US"/>
        </a:p>
      </dgm:t>
    </dgm:pt>
    <dgm:pt modelId="{4F78A490-1C23-4BBF-8016-997EFAAE478F}" type="parTrans" cxnId="{27450D1A-14DB-4323-90BD-108A079FB77A}">
      <dgm:prSet/>
      <dgm:spPr/>
      <dgm:t>
        <a:bodyPr/>
        <a:lstStyle/>
        <a:p>
          <a:endParaRPr lang="en-US"/>
        </a:p>
      </dgm:t>
    </dgm:pt>
    <dgm:pt modelId="{0C3E5329-EB5E-4889-9701-0849A8CD9D82}">
      <dgm:prSet custT="1"/>
      <dgm:spPr>
        <a:noFill/>
        <a:ln>
          <a:noFill/>
        </a:ln>
      </dgm:spPr>
      <dgm:t>
        <a:bodyPr/>
        <a:lstStyle/>
        <a:p>
          <a:pPr>
            <a:lnSpc>
              <a:spcPct val="100000"/>
            </a:lnSpc>
          </a:pPr>
          <a:r>
            <a:rPr lang="de" sz="1600" b="0" i="0" strike="noStrike" cap="none" spc="0" baseline="0">
              <a:solidFill>
                <a:srgbClr val="000000"/>
              </a:solidFill>
              <a:effectLst/>
              <a:latin typeface="Calibri"/>
              <a:ea typeface="Calibri"/>
              <a:cs typeface="Calibri"/>
            </a:rPr>
            <a:t>Übertragung</a:t>
          </a:r>
          <a:endParaRPr lang="en-US"/>
        </a:p>
      </dgm:t>
    </dgm:pt>
    <dgm:pt modelId="{1E1AEB77-E215-409E-B983-A154334C1190}" type="sibTrans" cxnId="{27450D1A-14DB-4323-90BD-108A079FB77A}">
      <dgm:prSet/>
      <dgm:spPr/>
      <dgm:t>
        <a:bodyPr/>
        <a:lstStyle/>
        <a:p>
          <a:endParaRPr lang="en-US"/>
        </a:p>
      </dgm:t>
    </dgm:pt>
    <dgm:pt modelId="{ADCB2420-3E8D-4D10-815F-BFB534DBDEEC}" type="parTrans" cxnId="{F2DA451F-6278-45AB-8592-75A2D9012F41}">
      <dgm:prSet/>
      <dgm:spPr/>
      <dgm:t>
        <a:bodyPr/>
        <a:lstStyle/>
        <a:p>
          <a:endParaRPr lang="en-US"/>
        </a:p>
      </dgm:t>
    </dgm:pt>
    <dgm:pt modelId="{49DA00EC-20E3-4959-92DB-5FE0DB4E1078}">
      <dgm:prSet custT="1"/>
      <dgm:spPr>
        <a:noFill/>
        <a:ln>
          <a:noFill/>
        </a:ln>
      </dgm:spPr>
      <dgm:t>
        <a:bodyPr/>
        <a:lstStyle/>
        <a:p>
          <a:pPr>
            <a:lnSpc>
              <a:spcPct val="100000"/>
            </a:lnSpc>
          </a:pPr>
          <a:r>
            <a:rPr lang="de" sz="1600" b="0" i="0" strike="noStrike" cap="none" spc="0" baseline="0">
              <a:solidFill>
                <a:srgbClr val="000000"/>
              </a:solidFill>
              <a:effectLst/>
              <a:latin typeface="Calibri"/>
              <a:ea typeface="Calibri"/>
              <a:cs typeface="Calibri"/>
            </a:rPr>
            <a:t>Weniger günstige Aufgaben oder Arbeitszeiten</a:t>
          </a:r>
          <a:endParaRPr lang="en-US"/>
        </a:p>
      </dgm:t>
    </dgm:pt>
    <dgm:pt modelId="{1407D1F4-DC74-4D0C-B033-11CE032EE418}" type="sibTrans" cxnId="{F2DA451F-6278-45AB-8592-75A2D9012F41}">
      <dgm:prSet/>
      <dgm:spPr/>
      <dgm:t>
        <a:bodyPr/>
        <a:lstStyle/>
        <a:p>
          <a:endParaRPr lang="en-US"/>
        </a:p>
      </dgm:t>
    </dgm:pt>
    <dgm:pt modelId="{5ADD28B4-A80F-4093-AC94-16D6D563B90B}" type="parTrans" cxnId="{B8B40BCD-242E-4E71-9759-50EE80B9778E}">
      <dgm:prSet/>
      <dgm:spPr/>
      <dgm:t>
        <a:bodyPr/>
        <a:lstStyle/>
        <a:p>
          <a:endParaRPr lang="en-US"/>
        </a:p>
      </dgm:t>
    </dgm:pt>
    <dgm:pt modelId="{1EB4BC62-DA52-4EFC-9CA8-418C08D2348D}">
      <dgm:prSet custT="1"/>
      <dgm:spPr>
        <a:noFill/>
        <a:ln>
          <a:noFill/>
        </a:ln>
      </dgm:spPr>
      <dgm:t>
        <a:bodyPr/>
        <a:lstStyle/>
        <a:p>
          <a:pPr>
            <a:lnSpc>
              <a:spcPct val="100000"/>
            </a:lnSpc>
          </a:pPr>
          <a:r>
            <a:rPr lang="de" sz="1600" b="0" i="0" strike="noStrike" cap="none" spc="0" baseline="0">
              <a:solidFill>
                <a:srgbClr val="000000"/>
              </a:solidFill>
              <a:effectLst/>
              <a:latin typeface="Calibri"/>
              <a:ea typeface="Calibri"/>
              <a:cs typeface="Calibri"/>
            </a:rPr>
            <a:t>Durchsickern von Personalakten zur Verunglimpfung oder Diskreditierung eines Opfers oder Zeugen von Diskriminierung</a:t>
          </a:r>
          <a:endParaRPr lang="en-US"/>
        </a:p>
      </dgm:t>
    </dgm:pt>
    <dgm:pt modelId="{C9EFA232-B22D-4D18-BF81-0244D2085864}" type="sibTrans" cxnId="{B8B40BCD-242E-4E71-9759-50EE80B9778E}">
      <dgm:prSet/>
      <dgm:spPr/>
      <dgm:t>
        <a:bodyPr/>
        <a:lstStyle/>
        <a:p>
          <a:endParaRPr lang="en-US"/>
        </a:p>
      </dgm:t>
    </dgm:pt>
    <dgm:pt modelId="{2BC36E68-80C0-47FE-9E60-1D6E80AC1868}" type="parTrans" cxnId="{CBB167B3-81B0-40D2-AB05-77CA013C060F}">
      <dgm:prSet/>
      <dgm:spPr/>
      <dgm:t>
        <a:bodyPr/>
        <a:lstStyle/>
        <a:p>
          <a:endParaRPr lang="en-US"/>
        </a:p>
      </dgm:t>
    </dgm:pt>
    <dgm:pt modelId="{231A5E3E-BEAC-4643-AEC0-494E55F94A3B}">
      <dgm:prSet custT="1"/>
      <dgm:spPr>
        <a:noFill/>
        <a:ln>
          <a:noFill/>
        </a:ln>
      </dgm:spPr>
      <dgm:t>
        <a:bodyPr/>
        <a:lstStyle/>
        <a:p>
          <a:pPr>
            <a:lnSpc>
              <a:spcPct val="100000"/>
            </a:lnSpc>
          </a:pPr>
          <a:r>
            <a:rPr lang="de" sz="1600" b="0" i="0" strike="noStrike" cap="none" spc="0" baseline="0">
              <a:solidFill>
                <a:srgbClr val="000000"/>
              </a:solidFill>
              <a:effectLst/>
              <a:latin typeface="Calibri"/>
              <a:ea typeface="Calibri"/>
              <a:cs typeface="Calibri"/>
            </a:rPr>
            <a:t>Von Kollegen gemieden oder benachteiligt werden</a:t>
          </a:r>
          <a:endParaRPr lang="en-US"/>
        </a:p>
      </dgm:t>
    </dgm:pt>
    <dgm:pt modelId="{8F061D4F-67C0-462D-98B5-6197DF537B08}" type="sibTrans" cxnId="{CBB167B3-81B0-40D2-AB05-77CA013C060F}">
      <dgm:prSet/>
      <dgm:spPr/>
      <dgm:t>
        <a:bodyPr/>
        <a:lstStyle/>
        <a:p>
          <a:endParaRPr lang="en-US"/>
        </a:p>
      </dgm:t>
    </dgm:pt>
    <dgm:pt modelId="{8CE7926D-684E-4318-8AD1-74B82DCD2295}" type="parTrans" cxnId="{8EC9A7C8-BDD3-4F9E-8178-E95327725FE1}">
      <dgm:prSet/>
      <dgm:spPr/>
      <dgm:t>
        <a:bodyPr/>
        <a:lstStyle/>
        <a:p>
          <a:endParaRPr lang="en-US"/>
        </a:p>
      </dgm:t>
    </dgm:pt>
    <dgm:pt modelId="{66759DA8-7923-4702-8294-94150FFE7905}">
      <dgm:prSet custT="1"/>
      <dgm:spPr>
        <a:noFill/>
        <a:ln>
          <a:noFill/>
        </a:ln>
      </dgm:spPr>
      <dgm:t>
        <a:bodyPr/>
        <a:lstStyle/>
        <a:p>
          <a:pPr>
            <a:lnSpc>
              <a:spcPct val="100000"/>
            </a:lnSpc>
          </a:pPr>
          <a:r>
            <a:rPr lang="de" sz="1600" b="0" i="0" strike="noStrike" cap="none" spc="0" baseline="0">
              <a:solidFill>
                <a:srgbClr val="000000"/>
              </a:solidFill>
              <a:effectLst/>
              <a:latin typeface="Calibri"/>
              <a:ea typeface="Calibri"/>
              <a:cs typeface="Calibri"/>
            </a:rPr>
            <a:t>Sabotage durch Kollegen</a:t>
          </a:r>
          <a:endParaRPr lang="en-US"/>
        </a:p>
      </dgm:t>
    </dgm:pt>
    <dgm:pt modelId="{94499F2B-AD42-41F6-B221-73712FCD1BC6}" type="sibTrans" cxnId="{8EC9A7C8-BDD3-4F9E-8178-E95327725FE1}">
      <dgm:prSet/>
      <dgm:spPr/>
      <dgm:t>
        <a:bodyPr/>
        <a:lstStyle/>
        <a:p>
          <a:endParaRPr lang="en-US"/>
        </a:p>
      </dgm:t>
    </dgm:pt>
    <dgm:pt modelId="{41503E0F-AB6D-4568-9453-ABA59B82A4CC}" type="pres">
      <dgm:prSet presAssocID="{847EA9A9-2A7E-4FE6-BE29-8DF151ECBC7E}" presName="root" presStyleCnt="0">
        <dgm:presLayoutVars>
          <dgm:dir/>
          <dgm:resizeHandles val="exact"/>
        </dgm:presLayoutVars>
      </dgm:prSet>
      <dgm:spPr/>
    </dgm:pt>
    <dgm:pt modelId="{818C0BB3-442E-42EB-B956-37DA187B65FF}" type="pres">
      <dgm:prSet presAssocID="{79707194-1D02-4749-851A-78251A8D6A8E}" presName="compNode" presStyleCnt="0"/>
      <dgm:spPr/>
    </dgm:pt>
    <dgm:pt modelId="{52A512D9-B40D-47F9-A846-C726F51B1EC6}" type="pres">
      <dgm:prSet presAssocID="{79707194-1D02-4749-851A-78251A8D6A8E}" presName="bgRect" presStyleLbl="bgShp" presStyleIdx="0" presStyleCnt="7"/>
      <dgm:spPr>
        <a:solidFill>
          <a:schemeClr val="accent1">
            <a:tint val="40000"/>
            <a:hueOff val="0"/>
            <a:satOff val="0"/>
            <a:lumOff val="0"/>
            <a:alphaOff val="0"/>
          </a:schemeClr>
        </a:solidFill>
        <a:ln>
          <a:noFill/>
        </a:ln>
      </dgm:spPr>
    </dgm:pt>
    <dgm:pt modelId="{CA508474-D63E-4A16-9167-594C791466C4}" type="pres">
      <dgm:prSet presAssocID="{79707194-1D02-4749-851A-78251A8D6A8E}" presName="iconRect" presStyleLbl="node1" presStyleIdx="0" presStyleCnt="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Gavel"/>
        </a:ext>
      </dgm:extLst>
    </dgm:pt>
    <dgm:pt modelId="{58DC08D3-6ECA-4AC7-A6C4-0D833EF8AF69}" type="pres">
      <dgm:prSet presAssocID="{79707194-1D02-4749-851A-78251A8D6A8E}" presName="spaceRect" presStyleCnt="0"/>
      <dgm:spPr/>
    </dgm:pt>
    <dgm:pt modelId="{DCAD54F1-4A2A-422E-A86B-590182CAB8AA}" type="pres">
      <dgm:prSet presAssocID="{79707194-1D02-4749-851A-78251A8D6A8E}" presName="parTx" presStyleLbl="revTx" presStyleIdx="0" presStyleCnt="7">
        <dgm:presLayoutVars>
          <dgm:chMax val="0"/>
          <dgm:chPref val="0"/>
        </dgm:presLayoutVars>
      </dgm:prSet>
      <dgm:spPr/>
    </dgm:pt>
    <dgm:pt modelId="{446014D1-B799-4496-B82A-4DBBC3131499}" type="pres">
      <dgm:prSet presAssocID="{CE8F1689-E460-49B6-A0B4-2F42C7441D1E}" presName="sibTrans" presStyleCnt="0"/>
      <dgm:spPr/>
    </dgm:pt>
    <dgm:pt modelId="{4FFB4288-2951-440D-A775-60785C73E6AA}" type="pres">
      <dgm:prSet presAssocID="{75B6AE6A-9B0F-4ADC-B232-83EB04025669}" presName="compNode" presStyleCnt="0"/>
      <dgm:spPr/>
    </dgm:pt>
    <dgm:pt modelId="{02EE004D-26FC-47D1-8269-69D20901CA23}" type="pres">
      <dgm:prSet presAssocID="{75B6AE6A-9B0F-4ADC-B232-83EB04025669}" presName="bgRect" presStyleLbl="bgShp" presStyleIdx="1" presStyleCnt="7"/>
      <dgm:spPr>
        <a:solidFill>
          <a:schemeClr val="accent1">
            <a:tint val="40000"/>
            <a:hueOff val="0"/>
            <a:satOff val="0"/>
            <a:lumOff val="0"/>
            <a:alphaOff val="0"/>
          </a:schemeClr>
        </a:solidFill>
        <a:ln>
          <a:noFill/>
        </a:ln>
      </dgm:spPr>
    </dgm:pt>
    <dgm:pt modelId="{9E412361-0DD8-455E-ABDC-E515BF65EB9D}" type="pres">
      <dgm:prSet presAssocID="{75B6AE6A-9B0F-4ADC-B232-83EB04025669}" presName="iconRect" presStyleLbl="node1" presStyleIdx="1" presStyleCnt="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lay"/>
        </a:ext>
      </dgm:extLst>
    </dgm:pt>
    <dgm:pt modelId="{C21354FB-AD36-42B0-93BE-5F83ED150F04}" type="pres">
      <dgm:prSet presAssocID="{75B6AE6A-9B0F-4ADC-B232-83EB04025669}" presName="spaceRect" presStyleCnt="0"/>
      <dgm:spPr/>
    </dgm:pt>
    <dgm:pt modelId="{A97B8EB0-C577-4054-84C1-818EA38BF5B9}" type="pres">
      <dgm:prSet presAssocID="{75B6AE6A-9B0F-4ADC-B232-83EB04025669}" presName="parTx" presStyleLbl="revTx" presStyleIdx="1" presStyleCnt="7">
        <dgm:presLayoutVars>
          <dgm:chMax val="0"/>
          <dgm:chPref val="0"/>
        </dgm:presLayoutVars>
      </dgm:prSet>
      <dgm:spPr/>
    </dgm:pt>
    <dgm:pt modelId="{9D06C7C4-FB12-4400-9E9F-3C637653350D}" type="pres">
      <dgm:prSet presAssocID="{55B0ED60-47A9-4C9D-BED3-2A9BE70A9BE5}" presName="sibTrans" presStyleCnt="0"/>
      <dgm:spPr/>
    </dgm:pt>
    <dgm:pt modelId="{40ADC1F3-7B7B-415D-B1A9-2DD20BC18B22}" type="pres">
      <dgm:prSet presAssocID="{0C3E5329-EB5E-4889-9701-0849A8CD9D82}" presName="compNode" presStyleCnt="0"/>
      <dgm:spPr/>
    </dgm:pt>
    <dgm:pt modelId="{3951A61D-F069-4616-989D-20A828000FE1}" type="pres">
      <dgm:prSet presAssocID="{0C3E5329-EB5E-4889-9701-0849A8CD9D82}" presName="bgRect" presStyleLbl="bgShp" presStyleIdx="2" presStyleCnt="7"/>
      <dgm:spPr>
        <a:solidFill>
          <a:schemeClr val="accent1">
            <a:tint val="40000"/>
            <a:hueOff val="0"/>
            <a:satOff val="0"/>
            <a:lumOff val="0"/>
            <a:alphaOff val="0"/>
          </a:schemeClr>
        </a:solidFill>
        <a:ln>
          <a:noFill/>
        </a:ln>
      </dgm:spPr>
    </dgm:pt>
    <dgm:pt modelId="{B2C44930-8854-438D-90B1-22C51B82B008}" type="pres">
      <dgm:prSet presAssocID="{0C3E5329-EB5E-4889-9701-0849A8CD9D82}" presName="iconRect" presStyleLbl="node1" presStyleIdx="2" presStyleCnt="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Transfer"/>
        </a:ext>
      </dgm:extLst>
    </dgm:pt>
    <dgm:pt modelId="{BFF2EDA0-9815-4D23-9634-A8908693BE85}" type="pres">
      <dgm:prSet presAssocID="{0C3E5329-EB5E-4889-9701-0849A8CD9D82}" presName="spaceRect" presStyleCnt="0"/>
      <dgm:spPr/>
    </dgm:pt>
    <dgm:pt modelId="{635091B8-29C0-4ABE-8DEC-334A61052E0C}" type="pres">
      <dgm:prSet presAssocID="{0C3E5329-EB5E-4889-9701-0849A8CD9D82}" presName="parTx" presStyleLbl="revTx" presStyleIdx="2" presStyleCnt="7">
        <dgm:presLayoutVars>
          <dgm:chMax val="0"/>
          <dgm:chPref val="0"/>
        </dgm:presLayoutVars>
      </dgm:prSet>
      <dgm:spPr/>
    </dgm:pt>
    <dgm:pt modelId="{935AB0F7-C73A-4D15-9A92-396AE39B2FBF}" type="pres">
      <dgm:prSet presAssocID="{1E1AEB77-E215-409E-B983-A154334C1190}" presName="sibTrans" presStyleCnt="0"/>
      <dgm:spPr/>
    </dgm:pt>
    <dgm:pt modelId="{5668A616-B452-4CEF-8524-26589C63C0B2}" type="pres">
      <dgm:prSet presAssocID="{49DA00EC-20E3-4959-92DB-5FE0DB4E1078}" presName="compNode" presStyleCnt="0"/>
      <dgm:spPr/>
    </dgm:pt>
    <dgm:pt modelId="{2B9FBFC2-2DA2-4537-8E9D-0102188BB8DA}" type="pres">
      <dgm:prSet presAssocID="{49DA00EC-20E3-4959-92DB-5FE0DB4E1078}" presName="bgRect" presStyleLbl="bgShp" presStyleIdx="3" presStyleCnt="7"/>
      <dgm:spPr>
        <a:solidFill>
          <a:schemeClr val="accent1">
            <a:tint val="40000"/>
            <a:hueOff val="0"/>
            <a:satOff val="0"/>
            <a:lumOff val="0"/>
            <a:alphaOff val="0"/>
          </a:schemeClr>
        </a:solidFill>
        <a:ln>
          <a:noFill/>
        </a:ln>
      </dgm:spPr>
    </dgm:pt>
    <dgm:pt modelId="{098824A6-FCA5-4A1B-9C93-02EBF6CE40C2}" type="pres">
      <dgm:prSet presAssocID="{49DA00EC-20E3-4959-92DB-5FE0DB4E1078}" presName="iconRect" presStyleLbl="node1" presStyleIdx="3" presStyleCnt="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Stopwatch"/>
        </a:ext>
      </dgm:extLst>
    </dgm:pt>
    <dgm:pt modelId="{73A4532D-A95C-4D67-8544-DF90B65AF08C}" type="pres">
      <dgm:prSet presAssocID="{49DA00EC-20E3-4959-92DB-5FE0DB4E1078}" presName="spaceRect" presStyleCnt="0"/>
      <dgm:spPr/>
    </dgm:pt>
    <dgm:pt modelId="{CDB89971-F98F-4B5E-A3E6-D8B427874E72}" type="pres">
      <dgm:prSet presAssocID="{49DA00EC-20E3-4959-92DB-5FE0DB4E1078}" presName="parTx" presStyleLbl="revTx" presStyleIdx="3" presStyleCnt="7">
        <dgm:presLayoutVars>
          <dgm:chMax val="0"/>
          <dgm:chPref val="0"/>
        </dgm:presLayoutVars>
      </dgm:prSet>
      <dgm:spPr/>
    </dgm:pt>
    <dgm:pt modelId="{C8798EC8-CDEE-4D35-BD8F-FAC6BDEAA192}" type="pres">
      <dgm:prSet presAssocID="{1407D1F4-DC74-4D0C-B033-11CE032EE418}" presName="sibTrans" presStyleCnt="0"/>
      <dgm:spPr/>
    </dgm:pt>
    <dgm:pt modelId="{4729E7F1-7AFB-47B7-90AD-2020F44037FA}" type="pres">
      <dgm:prSet presAssocID="{1EB4BC62-DA52-4EFC-9CA8-418C08D2348D}" presName="compNode" presStyleCnt="0"/>
      <dgm:spPr/>
    </dgm:pt>
    <dgm:pt modelId="{5A0D2530-66A5-456F-BF2D-18FEAD527C88}" type="pres">
      <dgm:prSet presAssocID="{1EB4BC62-DA52-4EFC-9CA8-418C08D2348D}" presName="bgRect" presStyleLbl="bgShp" presStyleIdx="4" presStyleCnt="7"/>
      <dgm:spPr>
        <a:solidFill>
          <a:schemeClr val="accent1">
            <a:tint val="40000"/>
            <a:hueOff val="0"/>
            <a:satOff val="0"/>
            <a:lumOff val="0"/>
            <a:alphaOff val="0"/>
          </a:schemeClr>
        </a:solidFill>
        <a:ln>
          <a:noFill/>
        </a:ln>
      </dgm:spPr>
    </dgm:pt>
    <dgm:pt modelId="{D114D602-97C4-4F4E-85C6-8EC0B97D38A5}" type="pres">
      <dgm:prSet presAssocID="{1EB4BC62-DA52-4EFC-9CA8-418C08D2348D}" presName="iconRect" presStyleLbl="node1" presStyleIdx="4" presStyleCnt="7"/>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Judge"/>
        </a:ext>
      </dgm:extLst>
    </dgm:pt>
    <dgm:pt modelId="{F68ED1C6-C795-4016-B7C9-7ECEB42F8720}" type="pres">
      <dgm:prSet presAssocID="{1EB4BC62-DA52-4EFC-9CA8-418C08D2348D}" presName="spaceRect" presStyleCnt="0"/>
      <dgm:spPr/>
    </dgm:pt>
    <dgm:pt modelId="{01E7E8D9-EBEA-4B3C-B1F3-7D20DA711A7B}" type="pres">
      <dgm:prSet presAssocID="{1EB4BC62-DA52-4EFC-9CA8-418C08D2348D}" presName="parTx" presStyleLbl="revTx" presStyleIdx="4" presStyleCnt="7">
        <dgm:presLayoutVars>
          <dgm:chMax val="0"/>
          <dgm:chPref val="0"/>
        </dgm:presLayoutVars>
      </dgm:prSet>
      <dgm:spPr/>
    </dgm:pt>
    <dgm:pt modelId="{6D0477B7-4235-4AC0-8113-107D722676B1}" type="pres">
      <dgm:prSet presAssocID="{C9EFA232-B22D-4D18-BF81-0244D2085864}" presName="sibTrans" presStyleCnt="0"/>
      <dgm:spPr/>
    </dgm:pt>
    <dgm:pt modelId="{9953D956-CD16-4C82-BDAF-7032F64A9D82}" type="pres">
      <dgm:prSet presAssocID="{231A5E3E-BEAC-4643-AEC0-494E55F94A3B}" presName="compNode" presStyleCnt="0"/>
      <dgm:spPr/>
    </dgm:pt>
    <dgm:pt modelId="{82650058-36C7-4EF2-A510-6B2A3BC56CBA}" type="pres">
      <dgm:prSet presAssocID="{231A5E3E-BEAC-4643-AEC0-494E55F94A3B}" presName="bgRect" presStyleLbl="bgShp" presStyleIdx="5" presStyleCnt="7"/>
      <dgm:spPr>
        <a:solidFill>
          <a:schemeClr val="accent1">
            <a:tint val="40000"/>
            <a:hueOff val="0"/>
            <a:satOff val="0"/>
            <a:lumOff val="0"/>
            <a:alphaOff val="0"/>
          </a:schemeClr>
        </a:solidFill>
        <a:ln>
          <a:noFill/>
        </a:ln>
      </dgm:spPr>
    </dgm:pt>
    <dgm:pt modelId="{572EC3DD-4747-4D08-8080-FEFD01566235}" type="pres">
      <dgm:prSet presAssocID="{231A5E3E-BEAC-4643-AEC0-494E55F94A3B}" presName="iconRect" presStyleLbl="node1" presStyleIdx="5" presStyleCnt="7"/>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Disconnected"/>
        </a:ext>
      </dgm:extLst>
    </dgm:pt>
    <dgm:pt modelId="{C07ACDF1-B1C1-4585-90B0-3E3EA7B79A09}" type="pres">
      <dgm:prSet presAssocID="{231A5E3E-BEAC-4643-AEC0-494E55F94A3B}" presName="spaceRect" presStyleCnt="0"/>
      <dgm:spPr/>
    </dgm:pt>
    <dgm:pt modelId="{1D5AEC99-75BD-4251-A255-724AD0F0A785}" type="pres">
      <dgm:prSet presAssocID="{231A5E3E-BEAC-4643-AEC0-494E55F94A3B}" presName="parTx" presStyleLbl="revTx" presStyleIdx="5" presStyleCnt="7">
        <dgm:presLayoutVars>
          <dgm:chMax val="0"/>
          <dgm:chPref val="0"/>
        </dgm:presLayoutVars>
      </dgm:prSet>
      <dgm:spPr/>
    </dgm:pt>
    <dgm:pt modelId="{0F635DEF-46EA-4A08-8E08-AA4EB08FB4FB}" type="pres">
      <dgm:prSet presAssocID="{8F061D4F-67C0-462D-98B5-6197DF537B08}" presName="sibTrans" presStyleCnt="0"/>
      <dgm:spPr/>
    </dgm:pt>
    <dgm:pt modelId="{BD66F62F-8C23-456A-8572-580B0566BB24}" type="pres">
      <dgm:prSet presAssocID="{66759DA8-7923-4702-8294-94150FFE7905}" presName="compNode" presStyleCnt="0"/>
      <dgm:spPr/>
    </dgm:pt>
    <dgm:pt modelId="{BE66F222-4B7E-4DCF-98CD-4A27921714C6}" type="pres">
      <dgm:prSet presAssocID="{66759DA8-7923-4702-8294-94150FFE7905}" presName="bgRect" presStyleLbl="bgShp" presStyleIdx="6" presStyleCnt="7"/>
      <dgm:spPr>
        <a:solidFill>
          <a:schemeClr val="accent1">
            <a:tint val="40000"/>
            <a:hueOff val="0"/>
            <a:satOff val="0"/>
            <a:lumOff val="0"/>
            <a:alphaOff val="0"/>
          </a:schemeClr>
        </a:solidFill>
        <a:ln>
          <a:noFill/>
        </a:ln>
      </dgm:spPr>
    </dgm:pt>
    <dgm:pt modelId="{ABDFA904-3FD3-466E-BD6D-472D480E10CF}" type="pres">
      <dgm:prSet presAssocID="{66759DA8-7923-4702-8294-94150FFE7905}" presName="iconRect" presStyleLbl="node1" presStyleIdx="6" presStyleCnt="7"/>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a:noFill/>
        </a:ln>
      </dgm:spPr>
      <dgm:extLst>
        <a:ext uri="{E40237B7-FDA0-4F09-8148-C483321AD2D9}">
          <dgm14:cNvPr xmlns:dgm14="http://schemas.microsoft.com/office/drawing/2010/diagram" id="0" name="" descr="Danger"/>
        </a:ext>
      </dgm:extLst>
    </dgm:pt>
    <dgm:pt modelId="{8FA247E0-6072-457B-89A1-DED4048B43F8}" type="pres">
      <dgm:prSet presAssocID="{66759DA8-7923-4702-8294-94150FFE7905}" presName="spaceRect" presStyleCnt="0"/>
      <dgm:spPr/>
    </dgm:pt>
    <dgm:pt modelId="{D7759015-1B81-45A3-B24B-BC9FC83003A9}" type="pres">
      <dgm:prSet presAssocID="{66759DA8-7923-4702-8294-94150FFE7905}" presName="parTx" presStyleLbl="revTx" presStyleIdx="6" presStyleCnt="7">
        <dgm:presLayoutVars>
          <dgm:chMax val="0"/>
          <dgm:chPref val="0"/>
        </dgm:presLayoutVars>
      </dgm:prSet>
      <dgm:spPr/>
    </dgm:pt>
  </dgm:ptLst>
  <dgm:cxnLst>
    <dgm:cxn modelId="{89221406-1B1F-4CBD-97B3-D2A3A6953542}" type="presOf" srcId="{66759DA8-7923-4702-8294-94150FFE7905}" destId="{D7759015-1B81-45A3-B24B-BC9FC83003A9}" srcOrd="0" destOrd="0" presId="urn:microsoft.com/office/officeart/2018/2/layout/IconVerticalSolidList"/>
    <dgm:cxn modelId="{F7F6A60F-A60C-4E3E-825B-2A3C513EB808}" type="presOf" srcId="{49DA00EC-20E3-4959-92DB-5FE0DB4E1078}" destId="{CDB89971-F98F-4B5E-A3E6-D8B427874E72}" srcOrd="0" destOrd="0" presId="urn:microsoft.com/office/officeart/2018/2/layout/IconVerticalSolidList"/>
    <dgm:cxn modelId="{6BE3AD16-CC85-40C7-81DD-6A0341459489}" type="presOf" srcId="{0C3E5329-EB5E-4889-9701-0849A8CD9D82}" destId="{635091B8-29C0-4ABE-8DEC-334A61052E0C}" srcOrd="0" destOrd="0" presId="urn:microsoft.com/office/officeart/2018/2/layout/IconVerticalSolidList"/>
    <dgm:cxn modelId="{27450D1A-14DB-4323-90BD-108A079FB77A}" srcId="{847EA9A9-2A7E-4FE6-BE29-8DF151ECBC7E}" destId="{0C3E5329-EB5E-4889-9701-0849A8CD9D82}" srcOrd="2" destOrd="0" parTransId="{4F78A490-1C23-4BBF-8016-997EFAAE478F}" sibTransId="{1E1AEB77-E215-409E-B983-A154334C1190}"/>
    <dgm:cxn modelId="{F2DA451F-6278-45AB-8592-75A2D9012F41}" srcId="{847EA9A9-2A7E-4FE6-BE29-8DF151ECBC7E}" destId="{49DA00EC-20E3-4959-92DB-5FE0DB4E1078}" srcOrd="3" destOrd="0" parTransId="{ADCB2420-3E8D-4D10-815F-BFB534DBDEEC}" sibTransId="{1407D1F4-DC74-4D0C-B033-11CE032EE418}"/>
    <dgm:cxn modelId="{9C283024-548F-42BB-AF73-AD4F9E093EBD}" type="presOf" srcId="{75B6AE6A-9B0F-4ADC-B232-83EB04025669}" destId="{A97B8EB0-C577-4054-84C1-818EA38BF5B9}" srcOrd="0" destOrd="0" presId="urn:microsoft.com/office/officeart/2018/2/layout/IconVerticalSolidList"/>
    <dgm:cxn modelId="{9785A632-6B82-4289-A949-91096C58B02B}" type="presOf" srcId="{231A5E3E-BEAC-4643-AEC0-494E55F94A3B}" destId="{1D5AEC99-75BD-4251-A255-724AD0F0A785}" srcOrd="0" destOrd="0" presId="urn:microsoft.com/office/officeart/2018/2/layout/IconVerticalSolidList"/>
    <dgm:cxn modelId="{EB056D3F-952C-4B6D-BD59-0A72B7928A0A}" type="presOf" srcId="{1EB4BC62-DA52-4EFC-9CA8-418C08D2348D}" destId="{01E7E8D9-EBEA-4B3C-B1F3-7D20DA711A7B}" srcOrd="0" destOrd="0" presId="urn:microsoft.com/office/officeart/2018/2/layout/IconVerticalSolidList"/>
    <dgm:cxn modelId="{A3DCA9AE-A087-4028-8BD5-6CC95BBE935E}" srcId="{847EA9A9-2A7E-4FE6-BE29-8DF151ECBC7E}" destId="{75B6AE6A-9B0F-4ADC-B232-83EB04025669}" srcOrd="1" destOrd="0" parTransId="{AC4E4FE5-E6E9-4735-AABB-0C6819A38BD3}" sibTransId="{55B0ED60-47A9-4C9D-BED3-2A9BE70A9BE5}"/>
    <dgm:cxn modelId="{CBB167B3-81B0-40D2-AB05-77CA013C060F}" srcId="{847EA9A9-2A7E-4FE6-BE29-8DF151ECBC7E}" destId="{231A5E3E-BEAC-4643-AEC0-494E55F94A3B}" srcOrd="5" destOrd="0" parTransId="{2BC36E68-80C0-47FE-9E60-1D6E80AC1868}" sibTransId="{8F061D4F-67C0-462D-98B5-6197DF537B08}"/>
    <dgm:cxn modelId="{8EC9A7C8-BDD3-4F9E-8178-E95327725FE1}" srcId="{847EA9A9-2A7E-4FE6-BE29-8DF151ECBC7E}" destId="{66759DA8-7923-4702-8294-94150FFE7905}" srcOrd="6" destOrd="0" parTransId="{8CE7926D-684E-4318-8AD1-74B82DCD2295}" sibTransId="{94499F2B-AD42-41F6-B221-73712FCD1BC6}"/>
    <dgm:cxn modelId="{B8B40BCD-242E-4E71-9759-50EE80B9778E}" srcId="{847EA9A9-2A7E-4FE6-BE29-8DF151ECBC7E}" destId="{1EB4BC62-DA52-4EFC-9CA8-418C08D2348D}" srcOrd="4" destOrd="0" parTransId="{5ADD28B4-A80F-4093-AC94-16D6D563B90B}" sibTransId="{C9EFA232-B22D-4D18-BF81-0244D2085864}"/>
    <dgm:cxn modelId="{5B6BA8DA-4519-4943-99AC-05B700372E24}" srcId="{847EA9A9-2A7E-4FE6-BE29-8DF151ECBC7E}" destId="{79707194-1D02-4749-851A-78251A8D6A8E}" srcOrd="0" destOrd="0" parTransId="{B397E0D1-58FC-466E-A76A-0F9A90D32313}" sibTransId="{CE8F1689-E460-49B6-A0B4-2F42C7441D1E}"/>
    <dgm:cxn modelId="{37D6B5DC-EE07-4E18-89E4-B6F319D1510F}" type="presOf" srcId="{847EA9A9-2A7E-4FE6-BE29-8DF151ECBC7E}" destId="{41503E0F-AB6D-4568-9453-ABA59B82A4CC}" srcOrd="0" destOrd="0" presId="urn:microsoft.com/office/officeart/2018/2/layout/IconVerticalSolidList"/>
    <dgm:cxn modelId="{209A3CDD-4B94-49BA-9646-77A9267F02C7}" type="presOf" srcId="{79707194-1D02-4749-851A-78251A8D6A8E}" destId="{DCAD54F1-4A2A-422E-A86B-590182CAB8AA}" srcOrd="0" destOrd="0" presId="urn:microsoft.com/office/officeart/2018/2/layout/IconVerticalSolidList"/>
    <dgm:cxn modelId="{89975A44-EFED-423C-9170-EC0C13205D0A}" type="presParOf" srcId="{41503E0F-AB6D-4568-9453-ABA59B82A4CC}" destId="{818C0BB3-442E-42EB-B956-37DA187B65FF}" srcOrd="0" destOrd="0" presId="urn:microsoft.com/office/officeart/2018/2/layout/IconVerticalSolidList"/>
    <dgm:cxn modelId="{EF8E5200-70F6-4830-B974-1D2CBA6D0CD3}" type="presParOf" srcId="{818C0BB3-442E-42EB-B956-37DA187B65FF}" destId="{52A512D9-B40D-47F9-A846-C726F51B1EC6}" srcOrd="0" destOrd="0" presId="urn:microsoft.com/office/officeart/2018/2/layout/IconVerticalSolidList"/>
    <dgm:cxn modelId="{DD589731-B3C2-4FC1-BDDD-D526C23A4EC6}" type="presParOf" srcId="{818C0BB3-442E-42EB-B956-37DA187B65FF}" destId="{CA508474-D63E-4A16-9167-594C791466C4}" srcOrd="1" destOrd="0" presId="urn:microsoft.com/office/officeart/2018/2/layout/IconVerticalSolidList"/>
    <dgm:cxn modelId="{6CFA649B-20B1-45D2-9322-8BEF5AADD34D}" type="presParOf" srcId="{818C0BB3-442E-42EB-B956-37DA187B65FF}" destId="{58DC08D3-6ECA-4AC7-A6C4-0D833EF8AF69}" srcOrd="2" destOrd="0" presId="urn:microsoft.com/office/officeart/2018/2/layout/IconVerticalSolidList"/>
    <dgm:cxn modelId="{2CA74C6B-BF32-4CDB-B3D6-C5F4F24237C7}" type="presParOf" srcId="{818C0BB3-442E-42EB-B956-37DA187B65FF}" destId="{DCAD54F1-4A2A-422E-A86B-590182CAB8AA}" srcOrd="3" destOrd="0" presId="urn:microsoft.com/office/officeart/2018/2/layout/IconVerticalSolidList"/>
    <dgm:cxn modelId="{8CA73F91-0DD8-491A-9790-7C54BB1F82C7}" type="presParOf" srcId="{41503E0F-AB6D-4568-9453-ABA59B82A4CC}" destId="{446014D1-B799-4496-B82A-4DBBC3131499}" srcOrd="1" destOrd="0" presId="urn:microsoft.com/office/officeart/2018/2/layout/IconVerticalSolidList"/>
    <dgm:cxn modelId="{BD316034-371F-4CEE-8F7F-D84354E92427}" type="presParOf" srcId="{41503E0F-AB6D-4568-9453-ABA59B82A4CC}" destId="{4FFB4288-2951-440D-A775-60785C73E6AA}" srcOrd="2" destOrd="0" presId="urn:microsoft.com/office/officeart/2018/2/layout/IconVerticalSolidList"/>
    <dgm:cxn modelId="{BD132116-5ACA-4D17-865E-DE987E0D7AAF}" type="presParOf" srcId="{4FFB4288-2951-440D-A775-60785C73E6AA}" destId="{02EE004D-26FC-47D1-8269-69D20901CA23}" srcOrd="0" destOrd="0" presId="urn:microsoft.com/office/officeart/2018/2/layout/IconVerticalSolidList"/>
    <dgm:cxn modelId="{ECC3F988-78F4-4498-863D-3DE2725A580A}" type="presParOf" srcId="{4FFB4288-2951-440D-A775-60785C73E6AA}" destId="{9E412361-0DD8-455E-ABDC-E515BF65EB9D}" srcOrd="1" destOrd="0" presId="urn:microsoft.com/office/officeart/2018/2/layout/IconVerticalSolidList"/>
    <dgm:cxn modelId="{DE1401DB-9E9A-4475-9C02-EA6DA1E21D55}" type="presParOf" srcId="{4FFB4288-2951-440D-A775-60785C73E6AA}" destId="{C21354FB-AD36-42B0-93BE-5F83ED150F04}" srcOrd="2" destOrd="0" presId="urn:microsoft.com/office/officeart/2018/2/layout/IconVerticalSolidList"/>
    <dgm:cxn modelId="{27280539-E72D-4A64-82AE-582C57FB6DC1}" type="presParOf" srcId="{4FFB4288-2951-440D-A775-60785C73E6AA}" destId="{A97B8EB0-C577-4054-84C1-818EA38BF5B9}" srcOrd="3" destOrd="0" presId="urn:microsoft.com/office/officeart/2018/2/layout/IconVerticalSolidList"/>
    <dgm:cxn modelId="{5596CD05-0321-40F5-8FCF-0740C54943FB}" type="presParOf" srcId="{41503E0F-AB6D-4568-9453-ABA59B82A4CC}" destId="{9D06C7C4-FB12-4400-9E9F-3C637653350D}" srcOrd="3" destOrd="0" presId="urn:microsoft.com/office/officeart/2018/2/layout/IconVerticalSolidList"/>
    <dgm:cxn modelId="{972C6D16-FC7C-46A2-BFF7-05F1D175C5D0}" type="presParOf" srcId="{41503E0F-AB6D-4568-9453-ABA59B82A4CC}" destId="{40ADC1F3-7B7B-415D-B1A9-2DD20BC18B22}" srcOrd="4" destOrd="0" presId="urn:microsoft.com/office/officeart/2018/2/layout/IconVerticalSolidList"/>
    <dgm:cxn modelId="{4E002594-F9A2-4C56-801D-88109D93662D}" type="presParOf" srcId="{40ADC1F3-7B7B-415D-B1A9-2DD20BC18B22}" destId="{3951A61D-F069-4616-989D-20A828000FE1}" srcOrd="0" destOrd="0" presId="urn:microsoft.com/office/officeart/2018/2/layout/IconVerticalSolidList"/>
    <dgm:cxn modelId="{8AC272AC-F535-4E4B-A976-922532A55B24}" type="presParOf" srcId="{40ADC1F3-7B7B-415D-B1A9-2DD20BC18B22}" destId="{B2C44930-8854-438D-90B1-22C51B82B008}" srcOrd="1" destOrd="0" presId="urn:microsoft.com/office/officeart/2018/2/layout/IconVerticalSolidList"/>
    <dgm:cxn modelId="{D111E1C6-2CFC-4B04-B92C-DAC2A2ECF6E6}" type="presParOf" srcId="{40ADC1F3-7B7B-415D-B1A9-2DD20BC18B22}" destId="{BFF2EDA0-9815-4D23-9634-A8908693BE85}" srcOrd="2" destOrd="0" presId="urn:microsoft.com/office/officeart/2018/2/layout/IconVerticalSolidList"/>
    <dgm:cxn modelId="{5F1A67E7-664D-4C85-A9D6-E63B35DFDB30}" type="presParOf" srcId="{40ADC1F3-7B7B-415D-B1A9-2DD20BC18B22}" destId="{635091B8-29C0-4ABE-8DEC-334A61052E0C}" srcOrd="3" destOrd="0" presId="urn:microsoft.com/office/officeart/2018/2/layout/IconVerticalSolidList"/>
    <dgm:cxn modelId="{10E0E1ED-E27B-4B89-B5DD-A45575A05D06}" type="presParOf" srcId="{41503E0F-AB6D-4568-9453-ABA59B82A4CC}" destId="{935AB0F7-C73A-4D15-9A92-396AE39B2FBF}" srcOrd="5" destOrd="0" presId="urn:microsoft.com/office/officeart/2018/2/layout/IconVerticalSolidList"/>
    <dgm:cxn modelId="{EAE00AB1-C5E9-46E3-99DD-C857AD0059C9}" type="presParOf" srcId="{41503E0F-AB6D-4568-9453-ABA59B82A4CC}" destId="{5668A616-B452-4CEF-8524-26589C63C0B2}" srcOrd="6" destOrd="0" presId="urn:microsoft.com/office/officeart/2018/2/layout/IconVerticalSolidList"/>
    <dgm:cxn modelId="{AC468D08-3FDC-4E16-8E12-5C6D375D793A}" type="presParOf" srcId="{5668A616-B452-4CEF-8524-26589C63C0B2}" destId="{2B9FBFC2-2DA2-4537-8E9D-0102188BB8DA}" srcOrd="0" destOrd="0" presId="urn:microsoft.com/office/officeart/2018/2/layout/IconVerticalSolidList"/>
    <dgm:cxn modelId="{97742A54-0196-4457-AA4F-EF24F1C520F6}" type="presParOf" srcId="{5668A616-B452-4CEF-8524-26589C63C0B2}" destId="{098824A6-FCA5-4A1B-9C93-02EBF6CE40C2}" srcOrd="1" destOrd="0" presId="urn:microsoft.com/office/officeart/2018/2/layout/IconVerticalSolidList"/>
    <dgm:cxn modelId="{6951D2F0-4706-4755-9523-720E3A9D3A5D}" type="presParOf" srcId="{5668A616-B452-4CEF-8524-26589C63C0B2}" destId="{73A4532D-A95C-4D67-8544-DF90B65AF08C}" srcOrd="2" destOrd="0" presId="urn:microsoft.com/office/officeart/2018/2/layout/IconVerticalSolidList"/>
    <dgm:cxn modelId="{D6CAA9D3-C9CE-4CF5-BEDF-C2F6D7973AF9}" type="presParOf" srcId="{5668A616-B452-4CEF-8524-26589C63C0B2}" destId="{CDB89971-F98F-4B5E-A3E6-D8B427874E72}" srcOrd="3" destOrd="0" presId="urn:microsoft.com/office/officeart/2018/2/layout/IconVerticalSolidList"/>
    <dgm:cxn modelId="{EA966100-219F-4E4C-B1D9-729C8EC0CB00}" type="presParOf" srcId="{41503E0F-AB6D-4568-9453-ABA59B82A4CC}" destId="{C8798EC8-CDEE-4D35-BD8F-FAC6BDEAA192}" srcOrd="7" destOrd="0" presId="urn:microsoft.com/office/officeart/2018/2/layout/IconVerticalSolidList"/>
    <dgm:cxn modelId="{1D594DAB-B0B3-4FFE-AE22-E3CEBFC18E66}" type="presParOf" srcId="{41503E0F-AB6D-4568-9453-ABA59B82A4CC}" destId="{4729E7F1-7AFB-47B7-90AD-2020F44037FA}" srcOrd="8" destOrd="0" presId="urn:microsoft.com/office/officeart/2018/2/layout/IconVerticalSolidList"/>
    <dgm:cxn modelId="{92B05C5E-EF03-400E-89E0-AEE97B32DED6}" type="presParOf" srcId="{4729E7F1-7AFB-47B7-90AD-2020F44037FA}" destId="{5A0D2530-66A5-456F-BF2D-18FEAD527C88}" srcOrd="0" destOrd="0" presId="urn:microsoft.com/office/officeart/2018/2/layout/IconVerticalSolidList"/>
    <dgm:cxn modelId="{BB56A925-63DF-4BA0-96F1-D327670A37E3}" type="presParOf" srcId="{4729E7F1-7AFB-47B7-90AD-2020F44037FA}" destId="{D114D602-97C4-4F4E-85C6-8EC0B97D38A5}" srcOrd="1" destOrd="0" presId="urn:microsoft.com/office/officeart/2018/2/layout/IconVerticalSolidList"/>
    <dgm:cxn modelId="{540C02A4-36EC-4042-A83E-F62367834090}" type="presParOf" srcId="{4729E7F1-7AFB-47B7-90AD-2020F44037FA}" destId="{F68ED1C6-C795-4016-B7C9-7ECEB42F8720}" srcOrd="2" destOrd="0" presId="urn:microsoft.com/office/officeart/2018/2/layout/IconVerticalSolidList"/>
    <dgm:cxn modelId="{AC5012E3-67D5-48AA-A851-076742FE7C7A}" type="presParOf" srcId="{4729E7F1-7AFB-47B7-90AD-2020F44037FA}" destId="{01E7E8D9-EBEA-4B3C-B1F3-7D20DA711A7B}" srcOrd="3" destOrd="0" presId="urn:microsoft.com/office/officeart/2018/2/layout/IconVerticalSolidList"/>
    <dgm:cxn modelId="{B5CB5E68-7C40-4E5E-898F-76E1C0B5BA40}" type="presParOf" srcId="{41503E0F-AB6D-4568-9453-ABA59B82A4CC}" destId="{6D0477B7-4235-4AC0-8113-107D722676B1}" srcOrd="9" destOrd="0" presId="urn:microsoft.com/office/officeart/2018/2/layout/IconVerticalSolidList"/>
    <dgm:cxn modelId="{70DBA765-3FB8-408A-9531-1DC6F858E076}" type="presParOf" srcId="{41503E0F-AB6D-4568-9453-ABA59B82A4CC}" destId="{9953D956-CD16-4C82-BDAF-7032F64A9D82}" srcOrd="10" destOrd="0" presId="urn:microsoft.com/office/officeart/2018/2/layout/IconVerticalSolidList"/>
    <dgm:cxn modelId="{7C3A0FD3-B5D3-4971-B0D7-AEF5244E8B85}" type="presParOf" srcId="{9953D956-CD16-4C82-BDAF-7032F64A9D82}" destId="{82650058-36C7-4EF2-A510-6B2A3BC56CBA}" srcOrd="0" destOrd="0" presId="urn:microsoft.com/office/officeart/2018/2/layout/IconVerticalSolidList"/>
    <dgm:cxn modelId="{5AE963A7-7BB8-43DD-9F29-A51545B7E472}" type="presParOf" srcId="{9953D956-CD16-4C82-BDAF-7032F64A9D82}" destId="{572EC3DD-4747-4D08-8080-FEFD01566235}" srcOrd="1" destOrd="0" presId="urn:microsoft.com/office/officeart/2018/2/layout/IconVerticalSolidList"/>
    <dgm:cxn modelId="{98FA8571-3ACE-4629-872C-28B579908C64}" type="presParOf" srcId="{9953D956-CD16-4C82-BDAF-7032F64A9D82}" destId="{C07ACDF1-B1C1-4585-90B0-3E3EA7B79A09}" srcOrd="2" destOrd="0" presId="urn:microsoft.com/office/officeart/2018/2/layout/IconVerticalSolidList"/>
    <dgm:cxn modelId="{A3F219F8-0EB3-43A8-BBF7-F9E07C6334BD}" type="presParOf" srcId="{9953D956-CD16-4C82-BDAF-7032F64A9D82}" destId="{1D5AEC99-75BD-4251-A255-724AD0F0A785}" srcOrd="3" destOrd="0" presId="urn:microsoft.com/office/officeart/2018/2/layout/IconVerticalSolidList"/>
    <dgm:cxn modelId="{9AEB15F9-D234-482F-9168-39EB38C9AB6A}" type="presParOf" srcId="{41503E0F-AB6D-4568-9453-ABA59B82A4CC}" destId="{0F635DEF-46EA-4A08-8E08-AA4EB08FB4FB}" srcOrd="11" destOrd="0" presId="urn:microsoft.com/office/officeart/2018/2/layout/IconVerticalSolidList"/>
    <dgm:cxn modelId="{C2AB54FC-D778-48D4-BD56-4E47F63365ED}" type="presParOf" srcId="{41503E0F-AB6D-4568-9453-ABA59B82A4CC}" destId="{BD66F62F-8C23-456A-8572-580B0566BB24}" srcOrd="12" destOrd="0" presId="urn:microsoft.com/office/officeart/2018/2/layout/IconVerticalSolidList"/>
    <dgm:cxn modelId="{65E5080A-7C08-474D-917D-06EE38098531}" type="presParOf" srcId="{BD66F62F-8C23-456A-8572-580B0566BB24}" destId="{BE66F222-4B7E-4DCF-98CD-4A27921714C6}" srcOrd="0" destOrd="0" presId="urn:microsoft.com/office/officeart/2018/2/layout/IconVerticalSolidList"/>
    <dgm:cxn modelId="{49B96250-B976-420E-ACD0-7D0B26EC18C9}" type="presParOf" srcId="{BD66F62F-8C23-456A-8572-580B0566BB24}" destId="{ABDFA904-3FD3-466E-BD6D-472D480E10CF}" srcOrd="1" destOrd="0" presId="urn:microsoft.com/office/officeart/2018/2/layout/IconVerticalSolidList"/>
    <dgm:cxn modelId="{7F12B274-F1F9-4943-AD4A-57D838F23467}" type="presParOf" srcId="{BD66F62F-8C23-456A-8572-580B0566BB24}" destId="{8FA247E0-6072-457B-89A1-DED4048B43F8}" srcOrd="2" destOrd="0" presId="urn:microsoft.com/office/officeart/2018/2/layout/IconVerticalSolidList"/>
    <dgm:cxn modelId="{BA07917B-E7B1-4F06-A81C-2AF955CAF0B7}" type="presParOf" srcId="{BD66F62F-8C23-456A-8572-580B0566BB24}" destId="{D7759015-1B81-45A3-B24B-BC9FC83003A9}"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2.xml><?xml version="1.0" encoding="utf-8"?>
<dgm:dataModel xmlns:dgm="http://schemas.openxmlformats.org/drawingml/2006/diagram" xmlns:a="http://schemas.openxmlformats.org/drawingml/2006/main">
  <dgm:ptLst>
    <dgm:pt modelId="{5B06EB90-98C5-4859-922A-0B07742D82AD}" type="doc">
      <dgm:prSet loTypeId="urn:microsoft.com/office/officeart/2005/8/layout/hList1" loCatId="list" qsTypeId="urn:microsoft.com/office/officeart/2005/8/quickstyle/simple2" qsCatId="simple" csTypeId="urn:microsoft.com/office/officeart/2005/8/colors/accent2_2" csCatId="accent2" phldr="1"/>
      <dgm:spPr/>
      <dgm:t>
        <a:bodyPr/>
        <a:lstStyle/>
        <a:p>
          <a:endParaRPr lang="en-GB"/>
        </a:p>
      </dgm:t>
    </dgm:pt>
    <dgm:pt modelId="{FD113CBC-AF41-4DDD-A93A-E07E64820BFB}" type="parTrans" cxnId="{21CCADBC-6CB5-4BFC-A6D9-80E416724378}">
      <dgm:prSet/>
      <dgm:spPr/>
      <dgm:t>
        <a:bodyPr/>
        <a:lstStyle/>
        <a:p>
          <a:endParaRPr lang="en-GB"/>
        </a:p>
      </dgm:t>
    </dgm:pt>
    <dgm:pt modelId="{C29D6BEC-58D3-4007-A770-E0D07CF2E858}">
      <dgm:prSet phldrT="[Text]" custT="1"/>
      <dgm:spPr>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dgm:spPr>
      <dgm:t>
        <a:bodyPr/>
        <a:lstStyle/>
        <a:p>
          <a:r>
            <a:rPr lang="de" sz="2100" b="0" i="0" strike="noStrike" cap="none" spc="0" baseline="0">
              <a:solidFill>
                <a:srgbClr val="FFFFFF"/>
              </a:solidFill>
              <a:effectLst/>
              <a:latin typeface="Calibri"/>
              <a:ea typeface="Calibri"/>
              <a:cs typeface="Calibri"/>
            </a:rPr>
            <a:t>Belästigung am Arbeitsplatz</a:t>
          </a:r>
          <a:endParaRPr lang="en-GB"/>
        </a:p>
      </dgm:t>
    </dgm:pt>
    <dgm:pt modelId="{E4D8EC6F-60EA-4903-9AE3-265F0EC19DDD}" type="parTrans" cxnId="{5E883E83-7A7E-45A7-833A-B8BA4948CDD7}">
      <dgm:prSet/>
      <dgm:spPr/>
      <dgm:t>
        <a:bodyPr/>
        <a:lstStyle/>
        <a:p>
          <a:endParaRPr lang="en-GB"/>
        </a:p>
      </dgm:t>
    </dgm:pt>
    <dgm:pt modelId="{F6E8E447-F8CD-43F1-87DE-F74AE20E1C91}">
      <dgm:prSet phldrT="[Text]" custT="1"/>
      <dgm:spPr>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dgm:spPr>
      <dgm:t>
        <a:bodyPr anchor="ctr"/>
        <a:lstStyle/>
        <a:p>
          <a:pPr>
            <a:buFont typeface="Arial" panose="020B0604020202020204" pitchFamily="34" charset="0"/>
            <a:buChar char="•"/>
          </a:pPr>
          <a:r>
            <a:rPr lang="de" sz="2100" b="0" i="0" strike="noStrike" cap="none" spc="0" baseline="0">
              <a:solidFill>
                <a:srgbClr val="000000"/>
              </a:solidFill>
              <a:effectLst/>
              <a:latin typeface="Calibri"/>
              <a:ea typeface="Calibri"/>
              <a:cs typeface="Calibri"/>
            </a:rPr>
            <a:t>Unerwünschtes oder beleidigendes Verhalten, das auf </a:t>
          </a:r>
          <a:r>
            <a:rPr lang="de" sz="2100" b="0" i="1" strike="noStrike" cap="none" spc="0" baseline="0">
              <a:solidFill>
                <a:srgbClr val="000000"/>
              </a:solidFill>
              <a:effectLst/>
              <a:latin typeface="Calibri"/>
              <a:ea typeface="Calibri"/>
              <a:cs typeface="Calibri"/>
            </a:rPr>
            <a:t>einem </a:t>
          </a:r>
          <a:r>
            <a:rPr lang="de" sz="2100" b="0" i="0" strike="noStrike" cap="none" spc="0" baseline="0">
              <a:solidFill>
                <a:srgbClr val="000000"/>
              </a:solidFill>
              <a:effectLst/>
              <a:latin typeface="Calibri"/>
              <a:ea typeface="Calibri"/>
              <a:cs typeface="Calibri"/>
            </a:rPr>
            <a:t>geschützten Grund basiert.</a:t>
          </a:r>
        </a:p>
      </dgm:t>
    </dgm:pt>
    <dgm:pt modelId="{21C90245-59AD-4456-922C-A50A5148DBF2}" type="sibTrans" cxnId="{5E883E83-7A7E-45A7-833A-B8BA4948CDD7}">
      <dgm:prSet/>
      <dgm:spPr/>
      <dgm:t>
        <a:bodyPr/>
        <a:lstStyle/>
        <a:p>
          <a:endParaRPr lang="en-GB"/>
        </a:p>
      </dgm:t>
    </dgm:pt>
    <dgm:pt modelId="{234ECDCA-080C-43A2-ACFE-8CED12658805}" type="sibTrans" cxnId="{21CCADBC-6CB5-4BFC-A6D9-80E416724378}">
      <dgm:prSet/>
      <dgm:spPr/>
      <dgm:t>
        <a:bodyPr/>
        <a:lstStyle/>
        <a:p>
          <a:endParaRPr lang="en-GB"/>
        </a:p>
      </dgm:t>
    </dgm:pt>
    <dgm:pt modelId="{5826039D-93BE-4C3C-BF14-BA91B7E8A1CC}" type="parTrans" cxnId="{042EDE87-8753-4601-BF78-604897B9E672}">
      <dgm:prSet/>
      <dgm:spPr/>
      <dgm:t>
        <a:bodyPr/>
        <a:lstStyle/>
        <a:p>
          <a:endParaRPr lang="en-GB"/>
        </a:p>
      </dgm:t>
    </dgm:pt>
    <dgm:pt modelId="{2DC141A4-B592-435C-823C-677788188CBD}">
      <dgm:prSet phldrT="[Text]" custT="1"/>
      <dgm:spPr>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dgm:spPr>
      <dgm:t>
        <a:bodyPr/>
        <a:lstStyle/>
        <a:p>
          <a:r>
            <a:rPr lang="de" sz="2100" b="0" i="0" strike="noStrike" cap="none" spc="0" baseline="0">
              <a:solidFill>
                <a:srgbClr val="FFFFFF"/>
              </a:solidFill>
              <a:effectLst/>
              <a:latin typeface="Calibri"/>
              <a:ea typeface="Calibri"/>
              <a:cs typeface="Calibri"/>
            </a:rPr>
            <a:t>Geschützte Böden</a:t>
          </a:r>
          <a:endParaRPr lang="en-GB"/>
        </a:p>
      </dgm:t>
    </dgm:pt>
    <dgm:pt modelId="{6673230B-FBEF-4439-B2A7-4E383CCD7B9A}" type="parTrans" cxnId="{DB27305A-0925-4E2F-90C9-0233E36B13AA}">
      <dgm:prSet/>
      <dgm:spPr/>
      <dgm:t>
        <a:bodyPr/>
        <a:lstStyle/>
        <a:p>
          <a:endParaRPr lang="en-GB"/>
        </a:p>
      </dgm:t>
    </dgm:pt>
    <dgm:pt modelId="{223E87BF-8BFA-4539-B616-ECF59C7A60AB}">
      <dgm:prSet phldrT="[Text]" custT="1"/>
      <dgm:spPr>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dgm:spPr>
      <dgm:t>
        <a:bodyPr anchor="ctr"/>
        <a:lstStyle/>
        <a:p>
          <a:pPr>
            <a:buFont typeface="Arial" panose="020B0604020202020204" pitchFamily="34" charset="0"/>
            <a:buChar char="•"/>
          </a:pPr>
          <a:r>
            <a:rPr lang="de" sz="1800" b="0" i="0" strike="noStrike" cap="none" spc="0" baseline="0" dirty="0">
              <a:solidFill>
                <a:srgbClr val="000000"/>
              </a:solidFill>
              <a:effectLst/>
              <a:latin typeface="Calibri"/>
              <a:ea typeface="Calibri"/>
              <a:cs typeface="Calibri"/>
            </a:rPr>
            <a:t>Persönliche Merkmale, die keine Auswirkungen auf die Beschäftigung oder beschäftigungsbezogene Entscheidungen haben dürfen. </a:t>
          </a:r>
        </a:p>
      </dgm:t>
    </dgm:pt>
    <dgm:pt modelId="{4BBBD690-4134-49AB-AC0C-39A005EB0B05}" type="sibTrans" cxnId="{DB27305A-0925-4E2F-90C9-0233E36B13AA}">
      <dgm:prSet/>
      <dgm:spPr/>
      <dgm:t>
        <a:bodyPr/>
        <a:lstStyle/>
        <a:p>
          <a:endParaRPr lang="en-GB"/>
        </a:p>
      </dgm:t>
    </dgm:pt>
    <dgm:pt modelId="{6BB0F509-FF30-4DCA-9060-AF24BAB8AA60}" type="parTrans" cxnId="{A37EE050-A1B3-4374-8A26-D25088EB07F6}">
      <dgm:prSet/>
      <dgm:spPr/>
      <dgm:t>
        <a:bodyPr/>
        <a:lstStyle/>
        <a:p>
          <a:endParaRPr lang="en-GB"/>
        </a:p>
      </dgm:t>
    </dgm:pt>
    <dgm:pt modelId="{7D531FA8-26FB-40E8-8E51-E296BACB2531}">
      <dgm:prSet custT="1"/>
      <dgm:spPr>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dgm:spPr>
      <dgm:t>
        <a:bodyPr anchor="ctr"/>
        <a:lstStyle/>
        <a:p>
          <a:pPr>
            <a:lnSpc>
              <a:spcPct val="100000"/>
            </a:lnSpc>
          </a:pPr>
          <a:r>
            <a:rPr lang="de" sz="1800" b="0" i="0" strike="noStrike" cap="none" spc="0" baseline="0" dirty="0">
              <a:solidFill>
                <a:srgbClr val="000000"/>
              </a:solidFill>
              <a:effectLst/>
              <a:latin typeface="Calibri"/>
              <a:ea typeface="Calibri"/>
              <a:cs typeface="Calibri"/>
            </a:rPr>
            <a:t>Menschen können mehr als einen geschützten Boden haben</a:t>
          </a:r>
        </a:p>
      </dgm:t>
    </dgm:pt>
    <dgm:pt modelId="{E3D22D90-1931-4C1B-AA8B-D22F38EAF7EE}" type="sibTrans" cxnId="{A37EE050-A1B3-4374-8A26-D25088EB07F6}">
      <dgm:prSet/>
      <dgm:spPr/>
      <dgm:t>
        <a:bodyPr/>
        <a:lstStyle/>
        <a:p>
          <a:endParaRPr lang="en-GB"/>
        </a:p>
      </dgm:t>
    </dgm:pt>
    <dgm:pt modelId="{C216D1D6-3A84-44F9-B1FF-E74F77D90E6D}" type="sibTrans" cxnId="{042EDE87-8753-4601-BF78-604897B9E672}">
      <dgm:prSet/>
      <dgm:spPr/>
      <dgm:t>
        <a:bodyPr/>
        <a:lstStyle/>
        <a:p>
          <a:endParaRPr lang="en-GB"/>
        </a:p>
      </dgm:t>
    </dgm:pt>
    <dgm:pt modelId="{B714127B-1401-4012-8F90-450026D014FF}" type="parTrans" cxnId="{B657B045-1A5B-4F19-88C3-7A273C65D6C7}">
      <dgm:prSet/>
      <dgm:spPr/>
      <dgm:t>
        <a:bodyPr/>
        <a:lstStyle/>
        <a:p>
          <a:endParaRPr lang="en-GB"/>
        </a:p>
      </dgm:t>
    </dgm:pt>
    <dgm:pt modelId="{4488291A-BD94-4685-A34F-B885F3B8EFAD}">
      <dgm:prSet phldrT="[Text]" custT="1"/>
      <dgm:spPr>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dgm:spPr>
      <dgm:t>
        <a:bodyPr/>
        <a:lstStyle/>
        <a:p>
          <a:r>
            <a:rPr lang="de" sz="2100" b="0" i="0" strike="noStrike" cap="none" spc="0" baseline="0">
              <a:solidFill>
                <a:srgbClr val="FFFFFF"/>
              </a:solidFill>
              <a:effectLst/>
              <a:latin typeface="Calibri"/>
              <a:ea typeface="Calibri"/>
              <a:cs typeface="Calibri"/>
            </a:rPr>
            <a:t>Intersektionelles Verhalten</a:t>
          </a:r>
          <a:endParaRPr lang="en-GB"/>
        </a:p>
      </dgm:t>
    </dgm:pt>
    <dgm:pt modelId="{4B04EFF0-8494-45E6-8388-35E677B94DE7}" type="parTrans" cxnId="{A6249E84-A406-46E1-A6E4-851618A941F4}">
      <dgm:prSet/>
      <dgm:spPr/>
      <dgm:t>
        <a:bodyPr/>
        <a:lstStyle/>
        <a:p>
          <a:endParaRPr lang="en-GB"/>
        </a:p>
      </dgm:t>
    </dgm:pt>
    <dgm:pt modelId="{2C970401-B79F-44D8-840F-AFC1E28EEAE5}">
      <dgm:prSet phldrT="[Text]" custT="1"/>
      <dgm:spPr>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dgm:spPr>
      <dgm:t>
        <a:bodyPr anchor="ctr"/>
        <a:lstStyle/>
        <a:p>
          <a:pPr>
            <a:buFont typeface="Arial" panose="020B0604020202020204" pitchFamily="34" charset="0"/>
            <a:buChar char="•"/>
          </a:pPr>
          <a:r>
            <a:rPr lang="de" sz="2100" b="0" i="0" strike="noStrike" cap="none" spc="0" baseline="0">
              <a:solidFill>
                <a:srgbClr val="000000"/>
              </a:solidFill>
              <a:effectLst/>
              <a:latin typeface="Calibri"/>
              <a:ea typeface="Calibri"/>
              <a:cs typeface="Calibri"/>
            </a:rPr>
            <a:t>Unangemessenes Verhalten, das auf mehr als einen geschützten Boden abzielt.</a:t>
          </a:r>
        </a:p>
      </dgm:t>
    </dgm:pt>
    <dgm:pt modelId="{7A00C314-1333-4C01-ACD9-D8DA13F98F78}" type="sibTrans" cxnId="{A6249E84-A406-46E1-A6E4-851618A941F4}">
      <dgm:prSet/>
      <dgm:spPr/>
      <dgm:t>
        <a:bodyPr/>
        <a:lstStyle/>
        <a:p>
          <a:endParaRPr lang="en-GB"/>
        </a:p>
      </dgm:t>
    </dgm:pt>
    <dgm:pt modelId="{746779FD-0831-4795-B732-3F2981C93DCE}" type="parTrans" cxnId="{22F1D4B2-92B3-45CB-92CC-1EC5D92C48BF}">
      <dgm:prSet/>
      <dgm:spPr/>
      <dgm:t>
        <a:bodyPr/>
        <a:lstStyle/>
        <a:p>
          <a:endParaRPr lang="en-GB"/>
        </a:p>
      </dgm:t>
    </dgm:pt>
    <dgm:pt modelId="{D4BEA0F3-CE19-48A9-A8C5-5635AF03EA29}">
      <dgm:prSet/>
      <dgm:spPr>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dgm:spPr>
      <dgm:t>
        <a:bodyPr anchor="ctr"/>
        <a:lstStyle/>
        <a:p>
          <a:pPr>
            <a:lnSpc>
              <a:spcPct val="100000"/>
            </a:lnSpc>
            <a:buNone/>
          </a:pPr>
          <a:endParaRPr lang="en-GB"/>
        </a:p>
      </dgm:t>
    </dgm:pt>
    <dgm:pt modelId="{39491536-F75E-4C10-899B-200BA7EC66DC}" type="sibTrans" cxnId="{22F1D4B2-92B3-45CB-92CC-1EC5D92C48BF}">
      <dgm:prSet/>
      <dgm:spPr/>
      <dgm:t>
        <a:bodyPr/>
        <a:lstStyle/>
        <a:p>
          <a:endParaRPr lang="en-GB"/>
        </a:p>
      </dgm:t>
    </dgm:pt>
    <dgm:pt modelId="{8656FD64-C920-4C1A-B228-DDB0A8E05BB7}" type="sibTrans" cxnId="{B657B045-1A5B-4F19-88C3-7A273C65D6C7}">
      <dgm:prSet/>
      <dgm:spPr/>
      <dgm:t>
        <a:bodyPr/>
        <a:lstStyle/>
        <a:p>
          <a:endParaRPr lang="en-GB"/>
        </a:p>
      </dgm:t>
    </dgm:pt>
    <dgm:pt modelId="{0FEB684E-E113-451E-B492-3E45F5FEF5C1}" type="pres">
      <dgm:prSet presAssocID="{5B06EB90-98C5-4859-922A-0B07742D82AD}" presName="Name0" presStyleCnt="0">
        <dgm:presLayoutVars>
          <dgm:dir/>
          <dgm:animLvl val="lvl"/>
          <dgm:resizeHandles val="exact"/>
        </dgm:presLayoutVars>
      </dgm:prSet>
      <dgm:spPr/>
    </dgm:pt>
    <dgm:pt modelId="{17481383-1DBB-4595-AEFE-D8D1DA23F699}" type="pres">
      <dgm:prSet presAssocID="{C29D6BEC-58D3-4007-A770-E0D07CF2E858}" presName="composite" presStyleCnt="0"/>
      <dgm:spPr/>
    </dgm:pt>
    <dgm:pt modelId="{B77136BE-66B6-43CA-ABD3-5EC058011C77}" type="pres">
      <dgm:prSet presAssocID="{C29D6BEC-58D3-4007-A770-E0D07CF2E858}" presName="parTx" presStyleLbl="alignNode1" presStyleIdx="0" presStyleCnt="3">
        <dgm:presLayoutVars>
          <dgm:chMax val="0"/>
          <dgm:chPref val="0"/>
          <dgm:bulletEnabled val="1"/>
        </dgm:presLayoutVars>
      </dgm:prSet>
      <dgm:spPr/>
    </dgm:pt>
    <dgm:pt modelId="{5A01AD50-A4BE-433F-882C-7262AEE7DECE}" type="pres">
      <dgm:prSet presAssocID="{C29D6BEC-58D3-4007-A770-E0D07CF2E858}" presName="desTx" presStyleLbl="alignAccFollowNode1" presStyleIdx="0" presStyleCnt="3">
        <dgm:presLayoutVars>
          <dgm:bulletEnabled val="1"/>
        </dgm:presLayoutVars>
      </dgm:prSet>
      <dgm:spPr/>
    </dgm:pt>
    <dgm:pt modelId="{60AC7C03-037F-4D1B-9634-D54EE3C5640B}" type="pres">
      <dgm:prSet presAssocID="{234ECDCA-080C-43A2-ACFE-8CED12658805}" presName="space" presStyleCnt="0"/>
      <dgm:spPr/>
    </dgm:pt>
    <dgm:pt modelId="{ECE42E4D-E658-4135-AE0B-4C8C74A989ED}" type="pres">
      <dgm:prSet presAssocID="{2DC141A4-B592-435C-823C-677788188CBD}" presName="composite" presStyleCnt="0"/>
      <dgm:spPr/>
    </dgm:pt>
    <dgm:pt modelId="{88EAAD68-E779-4ABE-A5DA-0983BBEBC27F}" type="pres">
      <dgm:prSet presAssocID="{2DC141A4-B592-435C-823C-677788188CBD}" presName="parTx" presStyleLbl="alignNode1" presStyleIdx="1" presStyleCnt="3">
        <dgm:presLayoutVars>
          <dgm:chMax val="0"/>
          <dgm:chPref val="0"/>
          <dgm:bulletEnabled val="1"/>
        </dgm:presLayoutVars>
      </dgm:prSet>
      <dgm:spPr/>
    </dgm:pt>
    <dgm:pt modelId="{E09FF709-B9A1-467B-BBF8-2127A63B2EF3}" type="pres">
      <dgm:prSet presAssocID="{2DC141A4-B592-435C-823C-677788188CBD}" presName="desTx" presStyleLbl="alignAccFollowNode1" presStyleIdx="1" presStyleCnt="3">
        <dgm:presLayoutVars>
          <dgm:bulletEnabled val="1"/>
        </dgm:presLayoutVars>
      </dgm:prSet>
      <dgm:spPr/>
    </dgm:pt>
    <dgm:pt modelId="{9C741542-FC0D-4FA2-8EF6-9DC8D76C0ADD}" type="pres">
      <dgm:prSet presAssocID="{C216D1D6-3A84-44F9-B1FF-E74F77D90E6D}" presName="space" presStyleCnt="0"/>
      <dgm:spPr/>
    </dgm:pt>
    <dgm:pt modelId="{16AA0DCF-6F46-4C2E-80CE-761D09CFA840}" type="pres">
      <dgm:prSet presAssocID="{4488291A-BD94-4685-A34F-B885F3B8EFAD}" presName="composite" presStyleCnt="0"/>
      <dgm:spPr/>
    </dgm:pt>
    <dgm:pt modelId="{F96EBAB5-2385-44A0-9DAE-378482389753}" type="pres">
      <dgm:prSet presAssocID="{4488291A-BD94-4685-A34F-B885F3B8EFAD}" presName="parTx" presStyleLbl="alignNode1" presStyleIdx="2" presStyleCnt="3">
        <dgm:presLayoutVars>
          <dgm:chMax val="0"/>
          <dgm:chPref val="0"/>
          <dgm:bulletEnabled val="1"/>
        </dgm:presLayoutVars>
      </dgm:prSet>
      <dgm:spPr/>
    </dgm:pt>
    <dgm:pt modelId="{205221B7-809E-408A-8761-924C5606E944}" type="pres">
      <dgm:prSet presAssocID="{4488291A-BD94-4685-A34F-B885F3B8EFAD}" presName="desTx" presStyleLbl="alignAccFollowNode1" presStyleIdx="2" presStyleCnt="3">
        <dgm:presLayoutVars>
          <dgm:bulletEnabled val="1"/>
        </dgm:presLayoutVars>
      </dgm:prSet>
      <dgm:spPr/>
    </dgm:pt>
  </dgm:ptLst>
  <dgm:cxnLst>
    <dgm:cxn modelId="{CF1B4B19-CE37-4BA0-9482-AC39A1E2DEE1}" type="presOf" srcId="{2C970401-B79F-44D8-840F-AFC1E28EEAE5}" destId="{205221B7-809E-408A-8761-924C5606E944}" srcOrd="0" destOrd="0" presId="urn:microsoft.com/office/officeart/2005/8/layout/hList1"/>
    <dgm:cxn modelId="{B657B045-1A5B-4F19-88C3-7A273C65D6C7}" srcId="{5B06EB90-98C5-4859-922A-0B07742D82AD}" destId="{4488291A-BD94-4685-A34F-B885F3B8EFAD}" srcOrd="2" destOrd="0" parTransId="{B714127B-1401-4012-8F90-450026D014FF}" sibTransId="{8656FD64-C920-4C1A-B228-DDB0A8E05BB7}"/>
    <dgm:cxn modelId="{CF844967-4744-4EB8-A27C-D0FF6233758D}" type="presOf" srcId="{5B06EB90-98C5-4859-922A-0B07742D82AD}" destId="{0FEB684E-E113-451E-B492-3E45F5FEF5C1}" srcOrd="0" destOrd="0" presId="urn:microsoft.com/office/officeart/2005/8/layout/hList1"/>
    <dgm:cxn modelId="{A37EE050-A1B3-4374-8A26-D25088EB07F6}" srcId="{2DC141A4-B592-435C-823C-677788188CBD}" destId="{7D531FA8-26FB-40E8-8E51-E296BACB2531}" srcOrd="1" destOrd="0" parTransId="{6BB0F509-FF30-4DCA-9060-AF24BAB8AA60}" sibTransId="{E3D22D90-1931-4C1B-AA8B-D22F38EAF7EE}"/>
    <dgm:cxn modelId="{DB27305A-0925-4E2F-90C9-0233E36B13AA}" srcId="{2DC141A4-B592-435C-823C-677788188CBD}" destId="{223E87BF-8BFA-4539-B616-ECF59C7A60AB}" srcOrd="0" destOrd="0" parTransId="{6673230B-FBEF-4439-B2A7-4E383CCD7B9A}" sibTransId="{4BBBD690-4134-49AB-AC0C-39A005EB0B05}"/>
    <dgm:cxn modelId="{5E883E83-7A7E-45A7-833A-B8BA4948CDD7}" srcId="{C29D6BEC-58D3-4007-A770-E0D07CF2E858}" destId="{F6E8E447-F8CD-43F1-87DE-F74AE20E1C91}" srcOrd="0" destOrd="0" parTransId="{E4D8EC6F-60EA-4903-9AE3-265F0EC19DDD}" sibTransId="{21C90245-59AD-4456-922C-A50A5148DBF2}"/>
    <dgm:cxn modelId="{A6249E84-A406-46E1-A6E4-851618A941F4}" srcId="{4488291A-BD94-4685-A34F-B885F3B8EFAD}" destId="{2C970401-B79F-44D8-840F-AFC1E28EEAE5}" srcOrd="0" destOrd="0" parTransId="{4B04EFF0-8494-45E6-8388-35E677B94DE7}" sibTransId="{7A00C314-1333-4C01-ACD9-D8DA13F98F78}"/>
    <dgm:cxn modelId="{042EDE87-8753-4601-BF78-604897B9E672}" srcId="{5B06EB90-98C5-4859-922A-0B07742D82AD}" destId="{2DC141A4-B592-435C-823C-677788188CBD}" srcOrd="1" destOrd="0" parTransId="{5826039D-93BE-4C3C-BF14-BA91B7E8A1CC}" sibTransId="{C216D1D6-3A84-44F9-B1FF-E74F77D90E6D}"/>
    <dgm:cxn modelId="{4AAA5C88-C296-4FED-9FD5-CD71F23B698E}" type="presOf" srcId="{D4BEA0F3-CE19-48A9-A8C5-5635AF03EA29}" destId="{205221B7-809E-408A-8761-924C5606E944}" srcOrd="0" destOrd="1" presId="urn:microsoft.com/office/officeart/2005/8/layout/hList1"/>
    <dgm:cxn modelId="{1471889B-FF13-487D-B3FE-44A0B584B6DA}" type="presOf" srcId="{4488291A-BD94-4685-A34F-B885F3B8EFAD}" destId="{F96EBAB5-2385-44A0-9DAE-378482389753}" srcOrd="0" destOrd="0" presId="urn:microsoft.com/office/officeart/2005/8/layout/hList1"/>
    <dgm:cxn modelId="{B4005BA5-5A6D-4EA3-BB3B-83C3EC5D0DA7}" type="presOf" srcId="{C29D6BEC-58D3-4007-A770-E0D07CF2E858}" destId="{B77136BE-66B6-43CA-ABD3-5EC058011C77}" srcOrd="0" destOrd="0" presId="urn:microsoft.com/office/officeart/2005/8/layout/hList1"/>
    <dgm:cxn modelId="{22F1D4B2-92B3-45CB-92CC-1EC5D92C48BF}" srcId="{4488291A-BD94-4685-A34F-B885F3B8EFAD}" destId="{D4BEA0F3-CE19-48A9-A8C5-5635AF03EA29}" srcOrd="1" destOrd="0" parTransId="{746779FD-0831-4795-B732-3F2981C93DCE}" sibTransId="{39491536-F75E-4C10-899B-200BA7EC66DC}"/>
    <dgm:cxn modelId="{99851BB3-F4EC-426B-AA0E-ADE2C75D281E}" type="presOf" srcId="{7D531FA8-26FB-40E8-8E51-E296BACB2531}" destId="{E09FF709-B9A1-467B-BBF8-2127A63B2EF3}" srcOrd="0" destOrd="1" presId="urn:microsoft.com/office/officeart/2005/8/layout/hList1"/>
    <dgm:cxn modelId="{FE011CB7-BA08-4670-ADEE-1A22DBEF6A8D}" type="presOf" srcId="{F6E8E447-F8CD-43F1-87DE-F74AE20E1C91}" destId="{5A01AD50-A4BE-433F-882C-7262AEE7DECE}" srcOrd="0" destOrd="0" presId="urn:microsoft.com/office/officeart/2005/8/layout/hList1"/>
    <dgm:cxn modelId="{21CCADBC-6CB5-4BFC-A6D9-80E416724378}" srcId="{5B06EB90-98C5-4859-922A-0B07742D82AD}" destId="{C29D6BEC-58D3-4007-A770-E0D07CF2E858}" srcOrd="0" destOrd="0" parTransId="{FD113CBC-AF41-4DDD-A93A-E07E64820BFB}" sibTransId="{234ECDCA-080C-43A2-ACFE-8CED12658805}"/>
    <dgm:cxn modelId="{BB293ED8-88BA-4167-9060-CC4AA28FE365}" type="presOf" srcId="{2DC141A4-B592-435C-823C-677788188CBD}" destId="{88EAAD68-E779-4ABE-A5DA-0983BBEBC27F}" srcOrd="0" destOrd="0" presId="urn:microsoft.com/office/officeart/2005/8/layout/hList1"/>
    <dgm:cxn modelId="{4FF114F9-685B-4188-A929-39096AD79EA6}" type="presOf" srcId="{223E87BF-8BFA-4539-B616-ECF59C7A60AB}" destId="{E09FF709-B9A1-467B-BBF8-2127A63B2EF3}" srcOrd="0" destOrd="0" presId="urn:microsoft.com/office/officeart/2005/8/layout/hList1"/>
    <dgm:cxn modelId="{C89F6B14-6E1A-49C8-8FDE-F2DA8C5604B1}" type="presParOf" srcId="{0FEB684E-E113-451E-B492-3E45F5FEF5C1}" destId="{17481383-1DBB-4595-AEFE-D8D1DA23F699}" srcOrd="0" destOrd="0" presId="urn:microsoft.com/office/officeart/2005/8/layout/hList1"/>
    <dgm:cxn modelId="{A80FB5A6-83D8-40FC-AF0E-18223EDFFE1D}" type="presParOf" srcId="{17481383-1DBB-4595-AEFE-D8D1DA23F699}" destId="{B77136BE-66B6-43CA-ABD3-5EC058011C77}" srcOrd="0" destOrd="0" presId="urn:microsoft.com/office/officeart/2005/8/layout/hList1"/>
    <dgm:cxn modelId="{51505F58-115C-455E-9976-FF580DB3B71D}" type="presParOf" srcId="{17481383-1DBB-4595-AEFE-D8D1DA23F699}" destId="{5A01AD50-A4BE-433F-882C-7262AEE7DECE}" srcOrd="1" destOrd="0" presId="urn:microsoft.com/office/officeart/2005/8/layout/hList1"/>
    <dgm:cxn modelId="{8884974F-CD80-473D-A617-32A82C7C8A0F}" type="presParOf" srcId="{0FEB684E-E113-451E-B492-3E45F5FEF5C1}" destId="{60AC7C03-037F-4D1B-9634-D54EE3C5640B}" srcOrd="1" destOrd="0" presId="urn:microsoft.com/office/officeart/2005/8/layout/hList1"/>
    <dgm:cxn modelId="{0A7B1BBF-040B-4A6F-A1FF-D5A7414790D1}" type="presParOf" srcId="{0FEB684E-E113-451E-B492-3E45F5FEF5C1}" destId="{ECE42E4D-E658-4135-AE0B-4C8C74A989ED}" srcOrd="2" destOrd="0" presId="urn:microsoft.com/office/officeart/2005/8/layout/hList1"/>
    <dgm:cxn modelId="{DAFE1E9E-CB19-4C7C-BC74-E7A62BC34482}" type="presParOf" srcId="{ECE42E4D-E658-4135-AE0B-4C8C74A989ED}" destId="{88EAAD68-E779-4ABE-A5DA-0983BBEBC27F}" srcOrd="0" destOrd="0" presId="urn:microsoft.com/office/officeart/2005/8/layout/hList1"/>
    <dgm:cxn modelId="{3C49F08F-144D-4407-8848-A3DD6D070E26}" type="presParOf" srcId="{ECE42E4D-E658-4135-AE0B-4C8C74A989ED}" destId="{E09FF709-B9A1-467B-BBF8-2127A63B2EF3}" srcOrd="1" destOrd="0" presId="urn:microsoft.com/office/officeart/2005/8/layout/hList1"/>
    <dgm:cxn modelId="{90513CAA-9749-4223-B788-6D3146835072}" type="presParOf" srcId="{0FEB684E-E113-451E-B492-3E45F5FEF5C1}" destId="{9C741542-FC0D-4FA2-8EF6-9DC8D76C0ADD}" srcOrd="3" destOrd="0" presId="urn:microsoft.com/office/officeart/2005/8/layout/hList1"/>
    <dgm:cxn modelId="{19AA9308-FE9B-45A4-86CD-9A568A54DC4B}" type="presParOf" srcId="{0FEB684E-E113-451E-B492-3E45F5FEF5C1}" destId="{16AA0DCF-6F46-4C2E-80CE-761D09CFA840}" srcOrd="4" destOrd="0" presId="urn:microsoft.com/office/officeart/2005/8/layout/hList1"/>
    <dgm:cxn modelId="{D2E4A60A-89A4-4575-A9B4-E4B10AB2A7FA}" type="presParOf" srcId="{16AA0DCF-6F46-4C2E-80CE-761D09CFA840}" destId="{F96EBAB5-2385-44A0-9DAE-378482389753}" srcOrd="0" destOrd="0" presId="urn:microsoft.com/office/officeart/2005/8/layout/hList1"/>
    <dgm:cxn modelId="{1B651BAC-2BA5-40B7-BD11-B78E9AF3ACF6}" type="presParOf" srcId="{16AA0DCF-6F46-4C2E-80CE-761D09CFA840}" destId="{205221B7-809E-408A-8761-924C5606E944}"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main"/>
    </a:ext>
  </dgm:extLst>
</dgm:dataModel>
</file>

<file path=ppt/diagrams/data3.xml><?xml version="1.0" encoding="utf-8"?>
<dgm:dataModel xmlns:dgm="http://schemas.openxmlformats.org/drawingml/2006/diagram" xmlns:a="http://schemas.openxmlformats.org/drawingml/2006/main">
  <dgm:ptLst>
    <dgm:pt modelId="{A5A8BE3A-9990-4232-8912-110E6E121807}" type="doc">
      <dgm:prSet loTypeId="urn:microsoft.com/office/officeart/2005/8/layout/default" loCatId="list" qsTypeId="urn:microsoft.com/office/officeart/2005/8/quickstyle/simple1" qsCatId="simple" csTypeId="urn:microsoft.com/office/officeart/2005/8/colors/accent1_3" csCatId="accent1" phldr="1"/>
      <dgm:spPr/>
      <dgm:t>
        <a:bodyPr/>
        <a:lstStyle/>
        <a:p>
          <a:endParaRPr lang="en-US"/>
        </a:p>
      </dgm:t>
    </dgm:pt>
    <dgm:pt modelId="{0486EE9A-3E6E-43FB-AD24-21CD026C9C41}" type="parTrans" cxnId="{593B19E6-9638-4964-B89F-E2DCC139363B}">
      <dgm:prSet/>
      <dgm:spPr/>
      <dgm:t>
        <a:bodyPr/>
        <a:lstStyle/>
        <a:p>
          <a:endParaRPr lang="en-US"/>
        </a:p>
      </dgm:t>
    </dgm:pt>
    <dgm:pt modelId="{30B572C5-5221-4FD0-8E3E-DC053333C8C3}">
      <dgm:prSet custT="1"/>
      <dgm:spPr>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500" b="0" i="0" strike="noStrike" cap="none" spc="0" baseline="0">
              <a:solidFill>
                <a:srgbClr val="FFFFFF"/>
              </a:solidFill>
              <a:effectLst/>
              <a:latin typeface="Calibri"/>
              <a:ea typeface="Calibri"/>
              <a:cs typeface="Calibri"/>
            </a:rPr>
            <a:t>Alter (ab 40)</a:t>
          </a:r>
          <a:endParaRPr lang="en-US"/>
        </a:p>
      </dgm:t>
    </dgm:pt>
    <dgm:pt modelId="{C98A1F1B-A0C7-43B9-9E01-A003135CB10F}" type="sibTrans" cxnId="{593B19E6-9638-4964-B89F-E2DCC139363B}">
      <dgm:prSet/>
      <dgm:spPr/>
      <dgm:t>
        <a:bodyPr/>
        <a:lstStyle/>
        <a:p>
          <a:endParaRPr lang="en-US"/>
        </a:p>
      </dgm:t>
    </dgm:pt>
    <dgm:pt modelId="{C650762C-5077-45D8-90A5-966139F10F0D}" type="parTrans" cxnId="{53BEED53-967D-4CB8-8CAF-DAAA02E7A0E3}">
      <dgm:prSet/>
      <dgm:spPr/>
      <dgm:t>
        <a:bodyPr/>
        <a:lstStyle/>
        <a:p>
          <a:endParaRPr lang="en-US"/>
        </a:p>
      </dgm:t>
    </dgm:pt>
    <dgm:pt modelId="{84B79948-5B19-4C78-9BA7-00828FCB7C0C}">
      <dgm:prSet custT="1"/>
      <dgm:spPr>
        <a:solidFill>
          <a:schemeClr val="accent1">
            <a:shade val="80000"/>
            <a:hueOff val="24660"/>
            <a:satOff val="470"/>
            <a:lumOff val="2078"/>
            <a:alphaOff val="0"/>
          </a:schemeClr>
        </a:solidFill>
        <a:ln w="12700" cap="flat" cmpd="sng" algn="ctr">
          <a:solidFill>
            <a:schemeClr val="lt1">
              <a:hueOff val="0"/>
              <a:satOff val="0"/>
              <a:lumOff val="0"/>
              <a:alphaOff val="0"/>
            </a:schemeClr>
          </a:solidFill>
          <a:prstDash val="solid"/>
          <a:miter lim="800000"/>
        </a:ln>
      </dgm:spPr>
      <dgm:t>
        <a:bodyPr/>
        <a:lstStyle/>
        <a:p>
          <a:r>
            <a:rPr lang="de" sz="1500" b="0" i="0" strike="noStrike" cap="none" spc="0" baseline="0">
              <a:solidFill>
                <a:srgbClr val="FFFFFF"/>
              </a:solidFill>
              <a:effectLst/>
              <a:latin typeface="Calibri"/>
              <a:ea typeface="Calibri"/>
              <a:cs typeface="Calibri"/>
            </a:rPr>
            <a:t>Rasse/Farbe</a:t>
          </a:r>
          <a:endParaRPr lang="en-US"/>
        </a:p>
      </dgm:t>
    </dgm:pt>
    <dgm:pt modelId="{B0A30908-0AEB-414E-B9D4-8F235A79FC3D}" type="sibTrans" cxnId="{53BEED53-967D-4CB8-8CAF-DAAA02E7A0E3}">
      <dgm:prSet/>
      <dgm:spPr/>
      <dgm:t>
        <a:bodyPr/>
        <a:lstStyle/>
        <a:p>
          <a:endParaRPr lang="en-US"/>
        </a:p>
      </dgm:t>
    </dgm:pt>
    <dgm:pt modelId="{265C025C-70C6-4FA8-99B2-955218BA8D42}" type="parTrans" cxnId="{B65591C7-A7C7-4E2E-A7DC-74F19EC43BAC}">
      <dgm:prSet/>
      <dgm:spPr/>
      <dgm:t>
        <a:bodyPr/>
        <a:lstStyle/>
        <a:p>
          <a:endParaRPr lang="en-US"/>
        </a:p>
      </dgm:t>
    </dgm:pt>
    <dgm:pt modelId="{AA483315-E412-498F-B60E-0DFFBECDA905}">
      <dgm:prSet custT="1"/>
      <dgm:spPr>
        <a:solidFill>
          <a:schemeClr val="accent1">
            <a:shade val="80000"/>
            <a:hueOff val="49321"/>
            <a:satOff val="941"/>
            <a:lumOff val="4155"/>
            <a:alphaOff val="0"/>
          </a:schemeClr>
        </a:solidFill>
        <a:ln w="12700" cap="flat" cmpd="sng" algn="ctr">
          <a:solidFill>
            <a:schemeClr val="lt1">
              <a:hueOff val="0"/>
              <a:satOff val="0"/>
              <a:lumOff val="0"/>
              <a:alphaOff val="0"/>
            </a:schemeClr>
          </a:solidFill>
          <a:prstDash val="solid"/>
          <a:miter lim="800000"/>
        </a:ln>
      </dgm:spPr>
      <dgm:t>
        <a:bodyPr/>
        <a:lstStyle/>
        <a:p>
          <a:r>
            <a:rPr lang="de" sz="1500" b="0" i="0" strike="noStrike" cap="none" spc="0" baseline="0">
              <a:solidFill>
                <a:srgbClr val="FFFFFF"/>
              </a:solidFill>
              <a:effectLst/>
              <a:latin typeface="Calibri"/>
              <a:ea typeface="Calibri"/>
              <a:cs typeface="Calibri"/>
            </a:rPr>
            <a:t>Nationale Herkunft / Staatsbürgerschaft</a:t>
          </a:r>
          <a:endParaRPr lang="en-US"/>
        </a:p>
      </dgm:t>
    </dgm:pt>
    <dgm:pt modelId="{1D3EF33A-9E18-4617-9552-E7C811B5A57C}" type="sibTrans" cxnId="{B65591C7-A7C7-4E2E-A7DC-74F19EC43BAC}">
      <dgm:prSet/>
      <dgm:spPr/>
      <dgm:t>
        <a:bodyPr/>
        <a:lstStyle/>
        <a:p>
          <a:endParaRPr lang="en-US"/>
        </a:p>
      </dgm:t>
    </dgm:pt>
    <dgm:pt modelId="{E697FD85-26BA-4676-826E-0DDA05BB8786}" type="parTrans" cxnId="{224302FF-C035-4562-A9C0-5CF1227615CA}">
      <dgm:prSet/>
      <dgm:spPr/>
      <dgm:t>
        <a:bodyPr/>
        <a:lstStyle/>
        <a:p>
          <a:endParaRPr lang="en-US"/>
        </a:p>
      </dgm:t>
    </dgm:pt>
    <dgm:pt modelId="{1A32B718-F6E8-49ED-B712-04CBBA6EA4EA}">
      <dgm:prSet custT="1"/>
      <dgm:spPr>
        <a:solidFill>
          <a:schemeClr val="accent1">
            <a:shade val="80000"/>
            <a:hueOff val="73981"/>
            <a:satOff val="1411"/>
            <a:lumOff val="6233"/>
            <a:alphaOff val="0"/>
          </a:schemeClr>
        </a:solidFill>
        <a:ln w="12700" cap="flat" cmpd="sng" algn="ctr">
          <a:solidFill>
            <a:schemeClr val="lt1">
              <a:hueOff val="0"/>
              <a:satOff val="0"/>
              <a:lumOff val="0"/>
              <a:alphaOff val="0"/>
            </a:schemeClr>
          </a:solidFill>
          <a:prstDash val="solid"/>
          <a:miter lim="800000"/>
        </a:ln>
      </dgm:spPr>
      <dgm:t>
        <a:bodyPr/>
        <a:lstStyle/>
        <a:p>
          <a:r>
            <a:rPr lang="de" sz="1500" b="0" i="0" strike="noStrike" cap="none" spc="0" baseline="0">
              <a:solidFill>
                <a:srgbClr val="FFFFFF"/>
              </a:solidFill>
              <a:effectLst/>
              <a:latin typeface="Calibri"/>
              <a:ea typeface="Calibri"/>
              <a:cs typeface="Calibri"/>
            </a:rPr>
            <a:t>Genetische Informationen</a:t>
          </a:r>
          <a:endParaRPr lang="en-US"/>
        </a:p>
      </dgm:t>
    </dgm:pt>
    <dgm:pt modelId="{2AC6CF8D-EA7B-4E6B-AAA0-36E8122C0BAF}" type="sibTrans" cxnId="{224302FF-C035-4562-A9C0-5CF1227615CA}">
      <dgm:prSet/>
      <dgm:spPr/>
      <dgm:t>
        <a:bodyPr/>
        <a:lstStyle/>
        <a:p>
          <a:endParaRPr lang="en-US"/>
        </a:p>
      </dgm:t>
    </dgm:pt>
    <dgm:pt modelId="{71FB683F-DBE8-4F7D-BA4C-BDE8C98C24ED}" type="parTrans" cxnId="{7B581CA4-93E0-449F-9C3A-C38DCB864845}">
      <dgm:prSet/>
      <dgm:spPr/>
      <dgm:t>
        <a:bodyPr/>
        <a:lstStyle/>
        <a:p>
          <a:endParaRPr lang="en-US"/>
        </a:p>
      </dgm:t>
    </dgm:pt>
    <dgm:pt modelId="{8E97A603-FEBF-4B61-9C74-AEF3D1F4B7BC}">
      <dgm:prSet custT="1"/>
      <dgm:spPr>
        <a:solidFill>
          <a:schemeClr val="accent1">
            <a:shade val="80000"/>
            <a:hueOff val="98641"/>
            <a:satOff val="1882"/>
            <a:lumOff val="8311"/>
            <a:alphaOff val="0"/>
          </a:schemeClr>
        </a:solidFill>
        <a:ln w="12700" cap="flat" cmpd="sng" algn="ctr">
          <a:solidFill>
            <a:schemeClr val="lt1">
              <a:hueOff val="0"/>
              <a:satOff val="0"/>
              <a:lumOff val="0"/>
              <a:alphaOff val="0"/>
            </a:schemeClr>
          </a:solidFill>
          <a:prstDash val="solid"/>
          <a:miter lim="800000"/>
        </a:ln>
      </dgm:spPr>
      <dgm:t>
        <a:bodyPr/>
        <a:lstStyle/>
        <a:p>
          <a:r>
            <a:rPr lang="de" sz="1500" b="0" i="0" strike="noStrike" cap="none" spc="0" baseline="0">
              <a:solidFill>
                <a:srgbClr val="FFFFFF"/>
              </a:solidFill>
              <a:effectLst/>
              <a:latin typeface="Calibri"/>
              <a:ea typeface="Calibri"/>
              <a:cs typeface="Calibri"/>
            </a:rPr>
            <a:t>Sprache</a:t>
          </a:r>
          <a:endParaRPr lang="en-US"/>
        </a:p>
      </dgm:t>
    </dgm:pt>
    <dgm:pt modelId="{8F0B935F-DBF3-4CCD-BF3C-D39AF35CD421}" type="sibTrans" cxnId="{7B581CA4-93E0-449F-9C3A-C38DCB864845}">
      <dgm:prSet/>
      <dgm:spPr/>
      <dgm:t>
        <a:bodyPr/>
        <a:lstStyle/>
        <a:p>
          <a:endParaRPr lang="en-US"/>
        </a:p>
      </dgm:t>
    </dgm:pt>
    <dgm:pt modelId="{2B5865D3-CFDB-4A67-A55A-89F722393BB5}" type="parTrans" cxnId="{B4F7ADEA-07AB-43E7-A1DC-08B0BF7EB64E}">
      <dgm:prSet/>
      <dgm:spPr/>
      <dgm:t>
        <a:bodyPr/>
        <a:lstStyle/>
        <a:p>
          <a:endParaRPr lang="en-US"/>
        </a:p>
      </dgm:t>
    </dgm:pt>
    <dgm:pt modelId="{BA24A286-25D9-46BA-BE57-54676FA1E3DF}">
      <dgm:prSet custT="1"/>
      <dgm:spPr>
        <a:solidFill>
          <a:schemeClr val="accent1">
            <a:shade val="80000"/>
            <a:hueOff val="123302"/>
            <a:satOff val="2352"/>
            <a:lumOff val="10389"/>
            <a:alphaOff val="0"/>
          </a:schemeClr>
        </a:solidFill>
        <a:ln w="12700" cap="flat" cmpd="sng" algn="ctr">
          <a:solidFill>
            <a:schemeClr val="lt1">
              <a:hueOff val="0"/>
              <a:satOff val="0"/>
              <a:lumOff val="0"/>
              <a:alphaOff val="0"/>
            </a:schemeClr>
          </a:solidFill>
          <a:prstDash val="solid"/>
          <a:miter lim="800000"/>
        </a:ln>
      </dgm:spPr>
      <dgm:t>
        <a:bodyPr/>
        <a:lstStyle/>
        <a:p>
          <a:r>
            <a:rPr lang="de" sz="1500" b="0" i="0" strike="noStrike" cap="none" spc="0" baseline="0">
              <a:solidFill>
                <a:srgbClr val="FFFFFF"/>
              </a:solidFill>
              <a:effectLst/>
              <a:latin typeface="Calibri"/>
              <a:ea typeface="Calibri"/>
              <a:cs typeface="Calibri"/>
            </a:rPr>
            <a:t>Religion oder Glauben</a:t>
          </a:r>
          <a:endParaRPr lang="en-US"/>
        </a:p>
      </dgm:t>
    </dgm:pt>
    <dgm:pt modelId="{A34CF339-3BCF-4C8D-A48C-3B167F1D3083}" type="sibTrans" cxnId="{B4F7ADEA-07AB-43E7-A1DC-08B0BF7EB64E}">
      <dgm:prSet/>
      <dgm:spPr/>
      <dgm:t>
        <a:bodyPr/>
        <a:lstStyle/>
        <a:p>
          <a:endParaRPr lang="en-US"/>
        </a:p>
      </dgm:t>
    </dgm:pt>
    <dgm:pt modelId="{8B8931D4-C5B0-4122-874C-804A44376DD5}" type="parTrans" cxnId="{16FA4CEF-9D77-493C-B9B9-A1AEA1910D99}">
      <dgm:prSet/>
      <dgm:spPr/>
      <dgm:t>
        <a:bodyPr/>
        <a:lstStyle/>
        <a:p>
          <a:endParaRPr lang="en-US"/>
        </a:p>
      </dgm:t>
    </dgm:pt>
    <dgm:pt modelId="{D0895D99-5AA0-4CCE-8B73-FE41472C79C3}">
      <dgm:prSet custT="1"/>
      <dgm:spPr>
        <a:solidFill>
          <a:schemeClr val="accent1">
            <a:shade val="80000"/>
            <a:hueOff val="147962"/>
            <a:satOff val="2823"/>
            <a:lumOff val="12466"/>
            <a:alphaOff val="0"/>
          </a:schemeClr>
        </a:solidFill>
        <a:ln w="12700" cap="flat" cmpd="sng" algn="ctr">
          <a:solidFill>
            <a:schemeClr val="lt1">
              <a:hueOff val="0"/>
              <a:satOff val="0"/>
              <a:lumOff val="0"/>
              <a:alphaOff val="0"/>
            </a:schemeClr>
          </a:solidFill>
          <a:prstDash val="solid"/>
          <a:miter lim="800000"/>
        </a:ln>
      </dgm:spPr>
      <dgm:t>
        <a:bodyPr/>
        <a:lstStyle/>
        <a:p>
          <a:r>
            <a:rPr lang="de" sz="1500" b="0" i="0" strike="noStrike" cap="none" spc="0" baseline="0">
              <a:solidFill>
                <a:srgbClr val="FFFFFF"/>
              </a:solidFill>
              <a:effectLst/>
              <a:latin typeface="Calibri"/>
              <a:ea typeface="Calibri"/>
              <a:cs typeface="Calibri"/>
            </a:rPr>
            <a:t>Politische Ideen oder Ideen der Gewerkschaft</a:t>
          </a:r>
          <a:endParaRPr lang="en-US"/>
        </a:p>
      </dgm:t>
    </dgm:pt>
    <dgm:pt modelId="{4A32E3D9-A3F8-4709-A336-BCF80D717EB0}" type="sibTrans" cxnId="{16FA4CEF-9D77-493C-B9B9-A1AEA1910D99}">
      <dgm:prSet/>
      <dgm:spPr/>
      <dgm:t>
        <a:bodyPr/>
        <a:lstStyle/>
        <a:p>
          <a:endParaRPr lang="en-US"/>
        </a:p>
      </dgm:t>
    </dgm:pt>
    <dgm:pt modelId="{D6F1117D-7524-408D-A5EE-39AD838EE339}" type="parTrans" cxnId="{A8936BF6-9056-439A-9A03-2DD43488F134}">
      <dgm:prSet/>
      <dgm:spPr/>
      <dgm:t>
        <a:bodyPr/>
        <a:lstStyle/>
        <a:p>
          <a:endParaRPr lang="en-US"/>
        </a:p>
      </dgm:t>
    </dgm:pt>
    <dgm:pt modelId="{96179C8C-1DD2-46BA-9583-4CA22832C5E1}">
      <dgm:prSet custT="1"/>
      <dgm:spPr>
        <a:solidFill>
          <a:schemeClr val="accent1">
            <a:shade val="80000"/>
            <a:hueOff val="172622"/>
            <a:satOff val="3293"/>
            <a:lumOff val="14544"/>
            <a:alphaOff val="0"/>
          </a:schemeClr>
        </a:solidFill>
        <a:ln w="12700" cap="flat" cmpd="sng" algn="ctr">
          <a:solidFill>
            <a:schemeClr val="lt1">
              <a:hueOff val="0"/>
              <a:satOff val="0"/>
              <a:lumOff val="0"/>
              <a:alphaOff val="0"/>
            </a:schemeClr>
          </a:solidFill>
          <a:prstDash val="solid"/>
          <a:miter lim="800000"/>
        </a:ln>
      </dgm:spPr>
      <dgm:t>
        <a:bodyPr/>
        <a:lstStyle/>
        <a:p>
          <a:r>
            <a:rPr lang="de" sz="1500" b="0" i="0" strike="noStrike" cap="none" spc="0" baseline="0">
              <a:solidFill>
                <a:srgbClr val="FFFFFF"/>
              </a:solidFill>
              <a:effectLst/>
              <a:latin typeface="Calibri"/>
              <a:ea typeface="Calibri"/>
              <a:cs typeface="Calibri"/>
            </a:rPr>
            <a:t>Veteranenstatus</a:t>
          </a:r>
          <a:endParaRPr lang="en-US"/>
        </a:p>
      </dgm:t>
    </dgm:pt>
    <dgm:pt modelId="{5DC5A7CA-3518-405F-8121-71430A94FFBC}" type="sibTrans" cxnId="{A8936BF6-9056-439A-9A03-2DD43488F134}">
      <dgm:prSet/>
      <dgm:spPr/>
      <dgm:t>
        <a:bodyPr/>
        <a:lstStyle/>
        <a:p>
          <a:endParaRPr lang="en-US"/>
        </a:p>
      </dgm:t>
    </dgm:pt>
    <dgm:pt modelId="{AC8A5AFF-175A-4F41-AF35-DBEC5235A8A5}" type="parTrans" cxnId="{1850D1BE-4E18-454D-9150-1DF5060B3104}">
      <dgm:prSet/>
      <dgm:spPr/>
      <dgm:t>
        <a:bodyPr/>
        <a:lstStyle/>
        <a:p>
          <a:endParaRPr lang="en-US"/>
        </a:p>
      </dgm:t>
    </dgm:pt>
    <dgm:pt modelId="{6CCC8163-9C03-44DC-8CD0-BE8BB1ECA829}">
      <dgm:prSet custT="1"/>
      <dgm:spPr>
        <a:solidFill>
          <a:schemeClr val="accent1">
            <a:shade val="80000"/>
            <a:hueOff val="197282"/>
            <a:satOff val="3764"/>
            <a:lumOff val="16622"/>
            <a:alphaOff val="0"/>
          </a:schemeClr>
        </a:solidFill>
        <a:ln w="12700" cap="flat" cmpd="sng" algn="ctr">
          <a:solidFill>
            <a:schemeClr val="lt1">
              <a:hueOff val="0"/>
              <a:satOff val="0"/>
              <a:lumOff val="0"/>
              <a:alphaOff val="0"/>
            </a:schemeClr>
          </a:solidFill>
          <a:prstDash val="solid"/>
          <a:miter lim="800000"/>
        </a:ln>
      </dgm:spPr>
      <dgm:t>
        <a:bodyPr/>
        <a:lstStyle/>
        <a:p>
          <a:r>
            <a:rPr lang="de" sz="1500" b="0" i="0" strike="noStrike" cap="none" spc="0" baseline="0">
              <a:solidFill>
                <a:srgbClr val="FFFFFF"/>
              </a:solidFill>
              <a:effectLst/>
              <a:latin typeface="Calibri"/>
              <a:ea typeface="Calibri"/>
              <a:cs typeface="Calibri"/>
            </a:rPr>
            <a:t>Geschlecht (einschließlich Schwangerschaft/Geburt)</a:t>
          </a:r>
        </a:p>
      </dgm:t>
    </dgm:pt>
    <dgm:pt modelId="{C8FCAC15-A25E-40E0-A3EB-7826ADFD9AB3}" type="sibTrans" cxnId="{1850D1BE-4E18-454D-9150-1DF5060B3104}">
      <dgm:prSet/>
      <dgm:spPr/>
      <dgm:t>
        <a:bodyPr/>
        <a:lstStyle/>
        <a:p>
          <a:endParaRPr lang="en-US"/>
        </a:p>
      </dgm:t>
    </dgm:pt>
    <dgm:pt modelId="{3BA743DB-F0C7-4C18-8B32-924A3D02F4D8}" type="parTrans" cxnId="{56E9CB6F-0E95-4226-9884-9C9D09A35EC6}">
      <dgm:prSet/>
      <dgm:spPr/>
      <dgm:t>
        <a:bodyPr/>
        <a:lstStyle/>
        <a:p>
          <a:endParaRPr lang="en-US"/>
        </a:p>
      </dgm:t>
    </dgm:pt>
    <dgm:pt modelId="{F2479D3B-5491-487C-B349-8B92252484F4}">
      <dgm:prSet custT="1"/>
      <dgm:spPr>
        <a:solidFill>
          <a:schemeClr val="accent1">
            <a:shade val="80000"/>
            <a:hueOff val="221943"/>
            <a:satOff val="4234"/>
            <a:lumOff val="18700"/>
            <a:alphaOff val="0"/>
          </a:schemeClr>
        </a:solidFill>
        <a:ln w="12700" cap="flat" cmpd="sng" algn="ctr">
          <a:solidFill>
            <a:schemeClr val="lt1">
              <a:hueOff val="0"/>
              <a:satOff val="0"/>
              <a:lumOff val="0"/>
              <a:alphaOff val="0"/>
            </a:schemeClr>
          </a:solidFill>
          <a:prstDash val="solid"/>
          <a:miter lim="800000"/>
        </a:ln>
      </dgm:spPr>
      <dgm:t>
        <a:bodyPr/>
        <a:lstStyle/>
        <a:p>
          <a:r>
            <a:rPr lang="de" sz="1500" b="0" i="0" strike="noStrike" cap="none" spc="0" baseline="0">
              <a:solidFill>
                <a:srgbClr val="FFFFFF"/>
              </a:solidFill>
              <a:effectLst/>
              <a:latin typeface="Calibri"/>
              <a:ea typeface="Calibri"/>
              <a:cs typeface="Calibri"/>
            </a:rPr>
            <a:t>Geschlechtsidentität</a:t>
          </a:r>
          <a:endParaRPr lang="en-US"/>
        </a:p>
      </dgm:t>
    </dgm:pt>
    <dgm:pt modelId="{88371F9B-07F6-4868-A36C-998E067F5033}" type="sibTrans" cxnId="{56E9CB6F-0E95-4226-9884-9C9D09A35EC6}">
      <dgm:prSet/>
      <dgm:spPr/>
      <dgm:t>
        <a:bodyPr/>
        <a:lstStyle/>
        <a:p>
          <a:endParaRPr lang="en-US"/>
        </a:p>
      </dgm:t>
    </dgm:pt>
    <dgm:pt modelId="{A7E3C7F5-9C15-4A8B-8A1C-CED1AEA2A46A}" type="parTrans" cxnId="{2A1B835B-3637-456D-8BD7-095982310507}">
      <dgm:prSet/>
      <dgm:spPr/>
      <dgm:t>
        <a:bodyPr/>
        <a:lstStyle/>
        <a:p>
          <a:endParaRPr lang="en-US"/>
        </a:p>
      </dgm:t>
    </dgm:pt>
    <dgm:pt modelId="{8F92365D-1570-436B-9D3F-98B02DFD5219}">
      <dgm:prSet custT="1"/>
      <dgm:spPr>
        <a:solidFill>
          <a:schemeClr val="accent1">
            <a:shade val="80000"/>
            <a:hueOff val="246603"/>
            <a:satOff val="4705"/>
            <a:lumOff val="20777"/>
            <a:alphaOff val="0"/>
          </a:schemeClr>
        </a:solidFill>
        <a:ln w="12700" cap="flat" cmpd="sng" algn="ctr">
          <a:solidFill>
            <a:schemeClr val="lt1">
              <a:hueOff val="0"/>
              <a:satOff val="0"/>
              <a:lumOff val="0"/>
              <a:alphaOff val="0"/>
            </a:schemeClr>
          </a:solidFill>
          <a:prstDash val="solid"/>
          <a:miter lim="800000"/>
        </a:ln>
      </dgm:spPr>
      <dgm:t>
        <a:bodyPr/>
        <a:lstStyle/>
        <a:p>
          <a:r>
            <a:rPr lang="de" sz="1500" b="0" i="0" strike="noStrike" cap="none" spc="0" baseline="0">
              <a:solidFill>
                <a:srgbClr val="FFFFFF"/>
              </a:solidFill>
              <a:effectLst/>
              <a:latin typeface="Calibri"/>
              <a:ea typeface="Calibri"/>
              <a:cs typeface="Calibri"/>
            </a:rPr>
            <a:t>Körperliche oder geistige Behinderung </a:t>
          </a:r>
          <a:endParaRPr lang="en-US"/>
        </a:p>
      </dgm:t>
    </dgm:pt>
    <dgm:pt modelId="{59892764-B9F5-4CE6-A33E-886B13C45D5C}" type="sibTrans" cxnId="{2A1B835B-3637-456D-8BD7-095982310507}">
      <dgm:prSet/>
      <dgm:spPr/>
      <dgm:t>
        <a:bodyPr/>
        <a:lstStyle/>
        <a:p>
          <a:endParaRPr lang="en-US"/>
        </a:p>
      </dgm:t>
    </dgm:pt>
    <dgm:pt modelId="{CABA8938-F305-40CB-BC7C-E6D2B75C5E50}" type="parTrans" cxnId="{5F541A30-E1D0-4B1F-B828-5BB6B844D226}">
      <dgm:prSet/>
      <dgm:spPr/>
      <dgm:t>
        <a:bodyPr/>
        <a:lstStyle/>
        <a:p>
          <a:endParaRPr lang="en-US"/>
        </a:p>
      </dgm:t>
    </dgm:pt>
    <dgm:pt modelId="{3A4AD095-B8AF-4668-916C-D465093EA655}">
      <dgm:prSet custT="1"/>
      <dgm:spPr>
        <a:solidFill>
          <a:schemeClr val="accent1">
            <a:shade val="80000"/>
            <a:hueOff val="271263"/>
            <a:satOff val="5175"/>
            <a:lumOff val="22855"/>
            <a:alphaOff val="0"/>
          </a:schemeClr>
        </a:solidFill>
        <a:ln w="12700" cap="flat" cmpd="sng" algn="ctr">
          <a:solidFill>
            <a:schemeClr val="lt1">
              <a:hueOff val="0"/>
              <a:satOff val="0"/>
              <a:lumOff val="0"/>
              <a:alphaOff val="0"/>
            </a:schemeClr>
          </a:solidFill>
          <a:prstDash val="solid"/>
          <a:miter lim="800000"/>
        </a:ln>
      </dgm:spPr>
      <dgm:t>
        <a:bodyPr/>
        <a:lstStyle/>
        <a:p>
          <a:r>
            <a:rPr lang="de" sz="1500" b="0" i="0" strike="noStrike" cap="none" spc="0" baseline="0">
              <a:solidFill>
                <a:srgbClr val="FFFFFF"/>
              </a:solidFill>
              <a:effectLst/>
              <a:latin typeface="Calibri"/>
              <a:ea typeface="Calibri"/>
              <a:cs typeface="Calibri"/>
            </a:rPr>
            <a:t>Sexuelle Orientierung</a:t>
          </a:r>
          <a:endParaRPr lang="en-US"/>
        </a:p>
      </dgm:t>
    </dgm:pt>
    <dgm:pt modelId="{6DEF558F-1461-40A3-B660-305F6075B3AD}" type="sibTrans" cxnId="{5F541A30-E1D0-4B1F-B828-5BB6B844D226}">
      <dgm:prSet/>
      <dgm:spPr/>
      <dgm:t>
        <a:bodyPr/>
        <a:lstStyle/>
        <a:p>
          <a:endParaRPr lang="en-US"/>
        </a:p>
      </dgm:t>
    </dgm:pt>
    <dgm:pt modelId="{15814E76-000F-4776-B97F-8B899AD44BAC}" type="pres">
      <dgm:prSet presAssocID="{A5A8BE3A-9990-4232-8912-110E6E121807}" presName="diagram" presStyleCnt="0">
        <dgm:presLayoutVars>
          <dgm:dir/>
          <dgm:resizeHandles val="exact"/>
        </dgm:presLayoutVars>
      </dgm:prSet>
      <dgm:spPr/>
    </dgm:pt>
    <dgm:pt modelId="{6956F062-E831-4C9D-8295-EBD859E85986}" type="pres">
      <dgm:prSet presAssocID="{30B572C5-5221-4FD0-8E3E-DC053333C8C3}" presName="node" presStyleLbl="node1" presStyleIdx="0" presStyleCnt="12">
        <dgm:presLayoutVars>
          <dgm:bulletEnabled val="1"/>
        </dgm:presLayoutVars>
      </dgm:prSet>
      <dgm:spPr/>
    </dgm:pt>
    <dgm:pt modelId="{83BE6824-ECE8-467C-8569-E2F8B857E995}" type="pres">
      <dgm:prSet presAssocID="{C98A1F1B-A0C7-43B9-9E01-A003135CB10F}" presName="sibTrans" presStyleCnt="0"/>
      <dgm:spPr/>
    </dgm:pt>
    <dgm:pt modelId="{314BF5E9-6D32-4139-B1EF-52F90BD3589D}" type="pres">
      <dgm:prSet presAssocID="{84B79948-5B19-4C78-9BA7-00828FCB7C0C}" presName="node" presStyleLbl="node1" presStyleIdx="1" presStyleCnt="12">
        <dgm:presLayoutVars>
          <dgm:bulletEnabled val="1"/>
        </dgm:presLayoutVars>
      </dgm:prSet>
      <dgm:spPr/>
    </dgm:pt>
    <dgm:pt modelId="{4877B61D-64F6-4AE7-BC77-59AA8DC2C961}" type="pres">
      <dgm:prSet presAssocID="{B0A30908-0AEB-414E-B9D4-8F235A79FC3D}" presName="sibTrans" presStyleCnt="0"/>
      <dgm:spPr/>
    </dgm:pt>
    <dgm:pt modelId="{65B48DC4-277D-4510-87DB-C69F1B7D6DD3}" type="pres">
      <dgm:prSet presAssocID="{AA483315-E412-498F-B60E-0DFFBECDA905}" presName="node" presStyleLbl="node1" presStyleIdx="2" presStyleCnt="12">
        <dgm:presLayoutVars>
          <dgm:bulletEnabled val="1"/>
        </dgm:presLayoutVars>
      </dgm:prSet>
      <dgm:spPr/>
    </dgm:pt>
    <dgm:pt modelId="{783803F8-6E7F-4EEA-AAD0-483B213E43F0}" type="pres">
      <dgm:prSet presAssocID="{1D3EF33A-9E18-4617-9552-E7C811B5A57C}" presName="sibTrans" presStyleCnt="0"/>
      <dgm:spPr/>
    </dgm:pt>
    <dgm:pt modelId="{C28451D7-32EE-4871-A93E-B1ABC49EF3AC}" type="pres">
      <dgm:prSet presAssocID="{1A32B718-F6E8-49ED-B712-04CBBA6EA4EA}" presName="node" presStyleLbl="node1" presStyleIdx="3" presStyleCnt="12">
        <dgm:presLayoutVars>
          <dgm:bulletEnabled val="1"/>
        </dgm:presLayoutVars>
      </dgm:prSet>
      <dgm:spPr/>
    </dgm:pt>
    <dgm:pt modelId="{A43E9D34-925F-4655-AC4B-A55B519327B9}" type="pres">
      <dgm:prSet presAssocID="{2AC6CF8D-EA7B-4E6B-AAA0-36E8122C0BAF}" presName="sibTrans" presStyleCnt="0"/>
      <dgm:spPr/>
    </dgm:pt>
    <dgm:pt modelId="{B97059E4-569B-439D-ACCE-C703E8EBB9E0}" type="pres">
      <dgm:prSet presAssocID="{8E97A603-FEBF-4B61-9C74-AEF3D1F4B7BC}" presName="node" presStyleLbl="node1" presStyleIdx="4" presStyleCnt="12">
        <dgm:presLayoutVars>
          <dgm:bulletEnabled val="1"/>
        </dgm:presLayoutVars>
      </dgm:prSet>
      <dgm:spPr/>
    </dgm:pt>
    <dgm:pt modelId="{F6EE2DDB-A1DE-4893-B327-CFE95B44129A}" type="pres">
      <dgm:prSet presAssocID="{8F0B935F-DBF3-4CCD-BF3C-D39AF35CD421}" presName="sibTrans" presStyleCnt="0"/>
      <dgm:spPr/>
    </dgm:pt>
    <dgm:pt modelId="{1C95E413-6173-413A-912F-7DA1BB34D98F}" type="pres">
      <dgm:prSet presAssocID="{BA24A286-25D9-46BA-BE57-54676FA1E3DF}" presName="node" presStyleLbl="node1" presStyleIdx="5" presStyleCnt="12">
        <dgm:presLayoutVars>
          <dgm:bulletEnabled val="1"/>
        </dgm:presLayoutVars>
      </dgm:prSet>
      <dgm:spPr/>
    </dgm:pt>
    <dgm:pt modelId="{68AC4E92-8AE2-4175-AC30-74BB205C523D}" type="pres">
      <dgm:prSet presAssocID="{A34CF339-3BCF-4C8D-A48C-3B167F1D3083}" presName="sibTrans" presStyleCnt="0"/>
      <dgm:spPr/>
    </dgm:pt>
    <dgm:pt modelId="{A26D54B5-B4E7-40E8-9B74-824A0E4BCFBB}" type="pres">
      <dgm:prSet presAssocID="{D0895D99-5AA0-4CCE-8B73-FE41472C79C3}" presName="node" presStyleLbl="node1" presStyleIdx="6" presStyleCnt="12">
        <dgm:presLayoutVars>
          <dgm:bulletEnabled val="1"/>
        </dgm:presLayoutVars>
      </dgm:prSet>
      <dgm:spPr/>
    </dgm:pt>
    <dgm:pt modelId="{68EBFB17-CAB3-420D-837A-15718F4AFEC2}" type="pres">
      <dgm:prSet presAssocID="{4A32E3D9-A3F8-4709-A336-BCF80D717EB0}" presName="sibTrans" presStyleCnt="0"/>
      <dgm:spPr/>
    </dgm:pt>
    <dgm:pt modelId="{00672C99-BC32-447E-BE26-36407AA2BDB2}" type="pres">
      <dgm:prSet presAssocID="{96179C8C-1DD2-46BA-9583-4CA22832C5E1}" presName="node" presStyleLbl="node1" presStyleIdx="7" presStyleCnt="12">
        <dgm:presLayoutVars>
          <dgm:bulletEnabled val="1"/>
        </dgm:presLayoutVars>
      </dgm:prSet>
      <dgm:spPr/>
    </dgm:pt>
    <dgm:pt modelId="{04BA77DB-C2CB-4B5C-B33C-74BA13CCFBA4}" type="pres">
      <dgm:prSet presAssocID="{5DC5A7CA-3518-405F-8121-71430A94FFBC}" presName="sibTrans" presStyleCnt="0"/>
      <dgm:spPr/>
    </dgm:pt>
    <dgm:pt modelId="{4CCD97D0-30AC-4C6D-BD06-F8D29050925E}" type="pres">
      <dgm:prSet presAssocID="{6CCC8163-9C03-44DC-8CD0-BE8BB1ECA829}" presName="node" presStyleLbl="node1" presStyleIdx="8" presStyleCnt="12">
        <dgm:presLayoutVars>
          <dgm:bulletEnabled val="1"/>
        </dgm:presLayoutVars>
      </dgm:prSet>
      <dgm:spPr/>
    </dgm:pt>
    <dgm:pt modelId="{F5570305-EA47-43E3-A112-D29B322D979B}" type="pres">
      <dgm:prSet presAssocID="{C8FCAC15-A25E-40E0-A3EB-7826ADFD9AB3}" presName="sibTrans" presStyleCnt="0"/>
      <dgm:spPr/>
    </dgm:pt>
    <dgm:pt modelId="{483AB9CE-7E99-4641-8A28-E74959ABA064}" type="pres">
      <dgm:prSet presAssocID="{F2479D3B-5491-487C-B349-8B92252484F4}" presName="node" presStyleLbl="node1" presStyleIdx="9" presStyleCnt="12">
        <dgm:presLayoutVars>
          <dgm:bulletEnabled val="1"/>
        </dgm:presLayoutVars>
      </dgm:prSet>
      <dgm:spPr/>
    </dgm:pt>
    <dgm:pt modelId="{3ED9C730-58CB-48F6-A44B-7F354F869F48}" type="pres">
      <dgm:prSet presAssocID="{88371F9B-07F6-4868-A36C-998E067F5033}" presName="sibTrans" presStyleCnt="0"/>
      <dgm:spPr/>
    </dgm:pt>
    <dgm:pt modelId="{EAD55615-8E89-44DC-83A8-7C3F87D1D88C}" type="pres">
      <dgm:prSet presAssocID="{8F92365D-1570-436B-9D3F-98B02DFD5219}" presName="node" presStyleLbl="node1" presStyleIdx="10" presStyleCnt="12">
        <dgm:presLayoutVars>
          <dgm:bulletEnabled val="1"/>
        </dgm:presLayoutVars>
      </dgm:prSet>
      <dgm:spPr/>
    </dgm:pt>
    <dgm:pt modelId="{35A960D8-ECEB-4390-9F81-F1AAB2ECC6FC}" type="pres">
      <dgm:prSet presAssocID="{59892764-B9F5-4CE6-A33E-886B13C45D5C}" presName="sibTrans" presStyleCnt="0"/>
      <dgm:spPr/>
    </dgm:pt>
    <dgm:pt modelId="{498343EC-04AC-4CAD-8B5E-ABC16ACC2F20}" type="pres">
      <dgm:prSet presAssocID="{3A4AD095-B8AF-4668-916C-D465093EA655}" presName="node" presStyleLbl="node1" presStyleIdx="11" presStyleCnt="12">
        <dgm:presLayoutVars>
          <dgm:bulletEnabled val="1"/>
        </dgm:presLayoutVars>
      </dgm:prSet>
      <dgm:spPr/>
    </dgm:pt>
  </dgm:ptLst>
  <dgm:cxnLst>
    <dgm:cxn modelId="{CC9EBA16-F3D5-4D45-AD82-1B96213A21FE}" type="presOf" srcId="{BA24A286-25D9-46BA-BE57-54676FA1E3DF}" destId="{1C95E413-6173-413A-912F-7DA1BB34D98F}" srcOrd="0" destOrd="0" presId="urn:microsoft.com/office/officeart/2005/8/layout/default"/>
    <dgm:cxn modelId="{5F541A30-E1D0-4B1F-B828-5BB6B844D226}" srcId="{A5A8BE3A-9990-4232-8912-110E6E121807}" destId="{3A4AD095-B8AF-4668-916C-D465093EA655}" srcOrd="11" destOrd="0" parTransId="{CABA8938-F305-40CB-BC7C-E6D2B75C5E50}" sibTransId="{6DEF558F-1461-40A3-B660-305F6075B3AD}"/>
    <dgm:cxn modelId="{2A1B835B-3637-456D-8BD7-095982310507}" srcId="{A5A8BE3A-9990-4232-8912-110E6E121807}" destId="{8F92365D-1570-436B-9D3F-98B02DFD5219}" srcOrd="10" destOrd="0" parTransId="{A7E3C7F5-9C15-4A8B-8A1C-CED1AEA2A46A}" sibTransId="{59892764-B9F5-4CE6-A33E-886B13C45D5C}"/>
    <dgm:cxn modelId="{CDEBDF43-15A4-4276-A60B-42197360B64C}" type="presOf" srcId="{6CCC8163-9C03-44DC-8CD0-BE8BB1ECA829}" destId="{4CCD97D0-30AC-4C6D-BD06-F8D29050925E}" srcOrd="0" destOrd="0" presId="urn:microsoft.com/office/officeart/2005/8/layout/default"/>
    <dgm:cxn modelId="{0A75586C-67AD-41AD-AF08-ADF5D73257E8}" type="presOf" srcId="{F2479D3B-5491-487C-B349-8B92252484F4}" destId="{483AB9CE-7E99-4641-8A28-E74959ABA064}" srcOrd="0" destOrd="0" presId="urn:microsoft.com/office/officeart/2005/8/layout/default"/>
    <dgm:cxn modelId="{56E9CB6F-0E95-4226-9884-9C9D09A35EC6}" srcId="{A5A8BE3A-9990-4232-8912-110E6E121807}" destId="{F2479D3B-5491-487C-B349-8B92252484F4}" srcOrd="9" destOrd="0" parTransId="{3BA743DB-F0C7-4C18-8B32-924A3D02F4D8}" sibTransId="{88371F9B-07F6-4868-A36C-998E067F5033}"/>
    <dgm:cxn modelId="{4BE62F72-7E80-435C-8EF7-5B49C079FB6F}" type="presOf" srcId="{8F92365D-1570-436B-9D3F-98B02DFD5219}" destId="{EAD55615-8E89-44DC-83A8-7C3F87D1D88C}" srcOrd="0" destOrd="0" presId="urn:microsoft.com/office/officeart/2005/8/layout/default"/>
    <dgm:cxn modelId="{53BEED53-967D-4CB8-8CAF-DAAA02E7A0E3}" srcId="{A5A8BE3A-9990-4232-8912-110E6E121807}" destId="{84B79948-5B19-4C78-9BA7-00828FCB7C0C}" srcOrd="1" destOrd="0" parTransId="{C650762C-5077-45D8-90A5-966139F10F0D}" sibTransId="{B0A30908-0AEB-414E-B9D4-8F235A79FC3D}"/>
    <dgm:cxn modelId="{6A45EC91-7B81-489A-B6E5-7D97402A75A6}" type="presOf" srcId="{30B572C5-5221-4FD0-8E3E-DC053333C8C3}" destId="{6956F062-E831-4C9D-8295-EBD859E85986}" srcOrd="0" destOrd="0" presId="urn:microsoft.com/office/officeart/2005/8/layout/default"/>
    <dgm:cxn modelId="{2C4E9794-6D1F-48E3-A659-04642AAFDF06}" type="presOf" srcId="{96179C8C-1DD2-46BA-9583-4CA22832C5E1}" destId="{00672C99-BC32-447E-BE26-36407AA2BDB2}" srcOrd="0" destOrd="0" presId="urn:microsoft.com/office/officeart/2005/8/layout/default"/>
    <dgm:cxn modelId="{0935DA98-D64C-49CF-95E0-07DD8FC08BC1}" type="presOf" srcId="{84B79948-5B19-4C78-9BA7-00828FCB7C0C}" destId="{314BF5E9-6D32-4139-B1EF-52F90BD3589D}" srcOrd="0" destOrd="0" presId="urn:microsoft.com/office/officeart/2005/8/layout/default"/>
    <dgm:cxn modelId="{7B581CA4-93E0-449F-9C3A-C38DCB864845}" srcId="{A5A8BE3A-9990-4232-8912-110E6E121807}" destId="{8E97A603-FEBF-4B61-9C74-AEF3D1F4B7BC}" srcOrd="4" destOrd="0" parTransId="{71FB683F-DBE8-4F7D-BA4C-BDE8C98C24ED}" sibTransId="{8F0B935F-DBF3-4CCD-BF3C-D39AF35CD421}"/>
    <dgm:cxn modelId="{80AF9CAB-F2D7-42CF-86D3-DEF81421F45D}" type="presOf" srcId="{8E97A603-FEBF-4B61-9C74-AEF3D1F4B7BC}" destId="{B97059E4-569B-439D-ACCE-C703E8EBB9E0}" srcOrd="0" destOrd="0" presId="urn:microsoft.com/office/officeart/2005/8/layout/default"/>
    <dgm:cxn modelId="{5EA666B6-CFD5-4DD8-946E-4DD5066F5558}" type="presOf" srcId="{A5A8BE3A-9990-4232-8912-110E6E121807}" destId="{15814E76-000F-4776-B97F-8B899AD44BAC}" srcOrd="0" destOrd="0" presId="urn:microsoft.com/office/officeart/2005/8/layout/default"/>
    <dgm:cxn modelId="{1850D1BE-4E18-454D-9150-1DF5060B3104}" srcId="{A5A8BE3A-9990-4232-8912-110E6E121807}" destId="{6CCC8163-9C03-44DC-8CD0-BE8BB1ECA829}" srcOrd="8" destOrd="0" parTransId="{AC8A5AFF-175A-4F41-AF35-DBEC5235A8A5}" sibTransId="{C8FCAC15-A25E-40E0-A3EB-7826ADFD9AB3}"/>
    <dgm:cxn modelId="{B65591C7-A7C7-4E2E-A7DC-74F19EC43BAC}" srcId="{A5A8BE3A-9990-4232-8912-110E6E121807}" destId="{AA483315-E412-498F-B60E-0DFFBECDA905}" srcOrd="2" destOrd="0" parTransId="{265C025C-70C6-4FA8-99B2-955218BA8D42}" sibTransId="{1D3EF33A-9E18-4617-9552-E7C811B5A57C}"/>
    <dgm:cxn modelId="{7A5A54C8-0716-4E29-81C7-2EEF2AB2742D}" type="presOf" srcId="{3A4AD095-B8AF-4668-916C-D465093EA655}" destId="{498343EC-04AC-4CAD-8B5E-ABC16ACC2F20}" srcOrd="0" destOrd="0" presId="urn:microsoft.com/office/officeart/2005/8/layout/default"/>
    <dgm:cxn modelId="{548397D0-686E-4FC3-B14C-0692ED24E7EE}" type="presOf" srcId="{D0895D99-5AA0-4CCE-8B73-FE41472C79C3}" destId="{A26D54B5-B4E7-40E8-9B74-824A0E4BCFBB}" srcOrd="0" destOrd="0" presId="urn:microsoft.com/office/officeart/2005/8/layout/default"/>
    <dgm:cxn modelId="{630C95DB-8C22-4B7F-ABF9-A819DD3FD9B7}" type="presOf" srcId="{AA483315-E412-498F-B60E-0DFFBECDA905}" destId="{65B48DC4-277D-4510-87DB-C69F1B7D6DD3}" srcOrd="0" destOrd="0" presId="urn:microsoft.com/office/officeart/2005/8/layout/default"/>
    <dgm:cxn modelId="{593B19E6-9638-4964-B89F-E2DCC139363B}" srcId="{A5A8BE3A-9990-4232-8912-110E6E121807}" destId="{30B572C5-5221-4FD0-8E3E-DC053333C8C3}" srcOrd="0" destOrd="0" parTransId="{0486EE9A-3E6E-43FB-AD24-21CD026C9C41}" sibTransId="{C98A1F1B-A0C7-43B9-9E01-A003135CB10F}"/>
    <dgm:cxn modelId="{B4F7ADEA-07AB-43E7-A1DC-08B0BF7EB64E}" srcId="{A5A8BE3A-9990-4232-8912-110E6E121807}" destId="{BA24A286-25D9-46BA-BE57-54676FA1E3DF}" srcOrd="5" destOrd="0" parTransId="{2B5865D3-CFDB-4A67-A55A-89F722393BB5}" sibTransId="{A34CF339-3BCF-4C8D-A48C-3B167F1D3083}"/>
    <dgm:cxn modelId="{16FA4CEF-9D77-493C-B9B9-A1AEA1910D99}" srcId="{A5A8BE3A-9990-4232-8912-110E6E121807}" destId="{D0895D99-5AA0-4CCE-8B73-FE41472C79C3}" srcOrd="6" destOrd="0" parTransId="{8B8931D4-C5B0-4122-874C-804A44376DD5}" sibTransId="{4A32E3D9-A3F8-4709-A336-BCF80D717EB0}"/>
    <dgm:cxn modelId="{59838AF1-10E8-4B96-930D-31C400CDC22C}" type="presOf" srcId="{1A32B718-F6E8-49ED-B712-04CBBA6EA4EA}" destId="{C28451D7-32EE-4871-A93E-B1ABC49EF3AC}" srcOrd="0" destOrd="0" presId="urn:microsoft.com/office/officeart/2005/8/layout/default"/>
    <dgm:cxn modelId="{A8936BF6-9056-439A-9A03-2DD43488F134}" srcId="{A5A8BE3A-9990-4232-8912-110E6E121807}" destId="{96179C8C-1DD2-46BA-9583-4CA22832C5E1}" srcOrd="7" destOrd="0" parTransId="{D6F1117D-7524-408D-A5EE-39AD838EE339}" sibTransId="{5DC5A7CA-3518-405F-8121-71430A94FFBC}"/>
    <dgm:cxn modelId="{224302FF-C035-4562-A9C0-5CF1227615CA}" srcId="{A5A8BE3A-9990-4232-8912-110E6E121807}" destId="{1A32B718-F6E8-49ED-B712-04CBBA6EA4EA}" srcOrd="3" destOrd="0" parTransId="{E697FD85-26BA-4676-826E-0DDA05BB8786}" sibTransId="{2AC6CF8D-EA7B-4E6B-AAA0-36E8122C0BAF}"/>
    <dgm:cxn modelId="{9FD9260D-85F1-4A95-A9F7-5AF8470D76DA}" type="presParOf" srcId="{15814E76-000F-4776-B97F-8B899AD44BAC}" destId="{6956F062-E831-4C9D-8295-EBD859E85986}" srcOrd="0" destOrd="0" presId="urn:microsoft.com/office/officeart/2005/8/layout/default"/>
    <dgm:cxn modelId="{57577BB6-93B1-41FB-A777-A72E3C9D92CF}" type="presParOf" srcId="{15814E76-000F-4776-B97F-8B899AD44BAC}" destId="{83BE6824-ECE8-467C-8569-E2F8B857E995}" srcOrd="1" destOrd="0" presId="urn:microsoft.com/office/officeart/2005/8/layout/default"/>
    <dgm:cxn modelId="{3AE80D5A-C78F-4530-9CF6-996ECF068EF0}" type="presParOf" srcId="{15814E76-000F-4776-B97F-8B899AD44BAC}" destId="{314BF5E9-6D32-4139-B1EF-52F90BD3589D}" srcOrd="2" destOrd="0" presId="urn:microsoft.com/office/officeart/2005/8/layout/default"/>
    <dgm:cxn modelId="{B370C9FA-4973-4C44-A44E-66A41FB5949D}" type="presParOf" srcId="{15814E76-000F-4776-B97F-8B899AD44BAC}" destId="{4877B61D-64F6-4AE7-BC77-59AA8DC2C961}" srcOrd="3" destOrd="0" presId="urn:microsoft.com/office/officeart/2005/8/layout/default"/>
    <dgm:cxn modelId="{3D27F9A7-8E2D-4C66-9CEF-BA024E8FC0B5}" type="presParOf" srcId="{15814E76-000F-4776-B97F-8B899AD44BAC}" destId="{65B48DC4-277D-4510-87DB-C69F1B7D6DD3}" srcOrd="4" destOrd="0" presId="urn:microsoft.com/office/officeart/2005/8/layout/default"/>
    <dgm:cxn modelId="{D10E6C7C-6F7E-4712-99CA-183F1B92A12F}" type="presParOf" srcId="{15814E76-000F-4776-B97F-8B899AD44BAC}" destId="{783803F8-6E7F-4EEA-AAD0-483B213E43F0}" srcOrd="5" destOrd="0" presId="urn:microsoft.com/office/officeart/2005/8/layout/default"/>
    <dgm:cxn modelId="{A7587C6F-D52C-42B3-95A2-D553BB7918EA}" type="presParOf" srcId="{15814E76-000F-4776-B97F-8B899AD44BAC}" destId="{C28451D7-32EE-4871-A93E-B1ABC49EF3AC}" srcOrd="6" destOrd="0" presId="urn:microsoft.com/office/officeart/2005/8/layout/default"/>
    <dgm:cxn modelId="{CAE31D84-9674-45E6-A006-29C315581006}" type="presParOf" srcId="{15814E76-000F-4776-B97F-8B899AD44BAC}" destId="{A43E9D34-925F-4655-AC4B-A55B519327B9}" srcOrd="7" destOrd="0" presId="urn:microsoft.com/office/officeart/2005/8/layout/default"/>
    <dgm:cxn modelId="{5A750023-7030-4324-967E-6F2E6E34D023}" type="presParOf" srcId="{15814E76-000F-4776-B97F-8B899AD44BAC}" destId="{B97059E4-569B-439D-ACCE-C703E8EBB9E0}" srcOrd="8" destOrd="0" presId="urn:microsoft.com/office/officeart/2005/8/layout/default"/>
    <dgm:cxn modelId="{06A59EF4-0CE1-4F56-98C5-5E829FB12341}" type="presParOf" srcId="{15814E76-000F-4776-B97F-8B899AD44BAC}" destId="{F6EE2DDB-A1DE-4893-B327-CFE95B44129A}" srcOrd="9" destOrd="0" presId="urn:microsoft.com/office/officeart/2005/8/layout/default"/>
    <dgm:cxn modelId="{61365E28-FF0C-4700-BE30-8D81ACD49C24}" type="presParOf" srcId="{15814E76-000F-4776-B97F-8B899AD44BAC}" destId="{1C95E413-6173-413A-912F-7DA1BB34D98F}" srcOrd="10" destOrd="0" presId="urn:microsoft.com/office/officeart/2005/8/layout/default"/>
    <dgm:cxn modelId="{68C0FCD9-EB56-459C-8DAE-34A146B1FD93}" type="presParOf" srcId="{15814E76-000F-4776-B97F-8B899AD44BAC}" destId="{68AC4E92-8AE2-4175-AC30-74BB205C523D}" srcOrd="11" destOrd="0" presId="urn:microsoft.com/office/officeart/2005/8/layout/default"/>
    <dgm:cxn modelId="{3B417C1C-32A3-4AAB-AAB2-8CA0A5121B79}" type="presParOf" srcId="{15814E76-000F-4776-B97F-8B899AD44BAC}" destId="{A26D54B5-B4E7-40E8-9B74-824A0E4BCFBB}" srcOrd="12" destOrd="0" presId="urn:microsoft.com/office/officeart/2005/8/layout/default"/>
    <dgm:cxn modelId="{3A087AF9-79E9-4198-ABAD-C270F2A5C5EF}" type="presParOf" srcId="{15814E76-000F-4776-B97F-8B899AD44BAC}" destId="{68EBFB17-CAB3-420D-837A-15718F4AFEC2}" srcOrd="13" destOrd="0" presId="urn:microsoft.com/office/officeart/2005/8/layout/default"/>
    <dgm:cxn modelId="{6AFE74FF-B457-461C-BAEE-F760F6E481BB}" type="presParOf" srcId="{15814E76-000F-4776-B97F-8B899AD44BAC}" destId="{00672C99-BC32-447E-BE26-36407AA2BDB2}" srcOrd="14" destOrd="0" presId="urn:microsoft.com/office/officeart/2005/8/layout/default"/>
    <dgm:cxn modelId="{EBF10978-8949-45B5-83F7-90C056239FE0}" type="presParOf" srcId="{15814E76-000F-4776-B97F-8B899AD44BAC}" destId="{04BA77DB-C2CB-4B5C-B33C-74BA13CCFBA4}" srcOrd="15" destOrd="0" presId="urn:microsoft.com/office/officeart/2005/8/layout/default"/>
    <dgm:cxn modelId="{A53BE28D-426D-4D04-9F5E-AD0AABA5D0F7}" type="presParOf" srcId="{15814E76-000F-4776-B97F-8B899AD44BAC}" destId="{4CCD97D0-30AC-4C6D-BD06-F8D29050925E}" srcOrd="16" destOrd="0" presId="urn:microsoft.com/office/officeart/2005/8/layout/default"/>
    <dgm:cxn modelId="{2290DE33-2DB9-417C-820F-F1F84D6F0D56}" type="presParOf" srcId="{15814E76-000F-4776-B97F-8B899AD44BAC}" destId="{F5570305-EA47-43E3-A112-D29B322D979B}" srcOrd="17" destOrd="0" presId="urn:microsoft.com/office/officeart/2005/8/layout/default"/>
    <dgm:cxn modelId="{EA0F6CE5-F2D8-4C80-A251-C06CCB6C556A}" type="presParOf" srcId="{15814E76-000F-4776-B97F-8B899AD44BAC}" destId="{483AB9CE-7E99-4641-8A28-E74959ABA064}" srcOrd="18" destOrd="0" presId="urn:microsoft.com/office/officeart/2005/8/layout/default"/>
    <dgm:cxn modelId="{5A14B9FD-290C-4B71-A961-25FD41E48A48}" type="presParOf" srcId="{15814E76-000F-4776-B97F-8B899AD44BAC}" destId="{3ED9C730-58CB-48F6-A44B-7F354F869F48}" srcOrd="19" destOrd="0" presId="urn:microsoft.com/office/officeart/2005/8/layout/default"/>
    <dgm:cxn modelId="{74C7EF7E-294D-4E1E-957F-5D1241ECC3FF}" type="presParOf" srcId="{15814E76-000F-4776-B97F-8B899AD44BAC}" destId="{EAD55615-8E89-44DC-83A8-7C3F87D1D88C}" srcOrd="20" destOrd="0" presId="urn:microsoft.com/office/officeart/2005/8/layout/default"/>
    <dgm:cxn modelId="{DF101102-E2F8-436E-A469-E99DD307ECF4}" type="presParOf" srcId="{15814E76-000F-4776-B97F-8B899AD44BAC}" destId="{35A960D8-ECEB-4390-9F81-F1AAB2ECC6FC}" srcOrd="21" destOrd="0" presId="urn:microsoft.com/office/officeart/2005/8/layout/default"/>
    <dgm:cxn modelId="{6CB7BF2D-98AC-43A0-9003-4C3AF8E92776}" type="presParOf" srcId="{15814E76-000F-4776-B97F-8B899AD44BAC}" destId="{498343EC-04AC-4CAD-8B5E-ABC16ACC2F20}" srcOrd="2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4.xml><?xml version="1.0" encoding="utf-8"?>
<dgm:dataModel xmlns:dgm="http://schemas.openxmlformats.org/drawingml/2006/diagram" xmlns:a="http://schemas.openxmlformats.org/drawingml/2006/main">
  <dgm:ptLst>
    <dgm:pt modelId="{3CDF3A72-4E7D-44E7-9126-943CBEB76C39}" type="doc">
      <dgm:prSet loTypeId="urn:microsoft.com/office/officeart/2005/8/layout/hierarchy4" loCatId="hierarchy" qsTypeId="urn:microsoft.com/office/officeart/2005/8/quickstyle/simple2" qsCatId="simple" csTypeId="urn:microsoft.com/office/officeart/2005/8/colors/accent1_2" csCatId="accent1" phldr="1"/>
      <dgm:spPr/>
      <dgm:t>
        <a:bodyPr/>
        <a:lstStyle/>
        <a:p>
          <a:endParaRPr lang="en-US"/>
        </a:p>
      </dgm:t>
    </dgm:pt>
    <dgm:pt modelId="{CE90C112-028F-4005-BE5A-58F1022297C6}" type="parTrans" cxnId="{61872DD1-5060-47E1-973A-D837604A51D9}">
      <dgm:prSet/>
      <dgm:spPr/>
      <dgm:t>
        <a:bodyPr/>
        <a:lstStyle/>
        <a:p>
          <a:endParaRPr lang="en-US"/>
        </a:p>
      </dgm:t>
    </dgm:pt>
    <dgm:pt modelId="{E709D1A9-032D-4046-915C-1A3C52F288E6}">
      <dgm:prSet custT="1"/>
      <dgm:spPr>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dgm:spPr>
      <dgm:t>
        <a:bodyPr/>
        <a:lstStyle/>
        <a:p>
          <a:r>
            <a:rPr lang="de" sz="2800" b="1" i="0" u="sng" strike="noStrike" cap="none" spc="0" baseline="0">
              <a:solidFill>
                <a:srgbClr val="FFFFFF"/>
              </a:solidFill>
              <a:effectLst/>
              <a:uFill>
                <a:solidFill>
                  <a:srgbClr val="FFFFFF"/>
                </a:solidFill>
              </a:uFill>
              <a:latin typeface="Calibri"/>
              <a:ea typeface="Calibri"/>
              <a:cs typeface="Calibri"/>
            </a:rPr>
            <a:t>Sexuelle Belästigung </a:t>
          </a:r>
          <a:r>
            <a:rPr lang="de" sz="2800" b="0" i="0" strike="noStrike" cap="none" spc="0" baseline="0">
              <a:solidFill>
                <a:srgbClr val="FFFFFF"/>
              </a:solidFill>
              <a:effectLst/>
              <a:latin typeface="Calibri"/>
              <a:ea typeface="Calibri"/>
              <a:cs typeface="Calibri"/>
            </a:rPr>
            <a:t>ist unerwünschtes verbales, nonverbales oder körperliches Verhalten sexueller Natur, das die Würde einer Person verletzt.</a:t>
          </a:r>
        </a:p>
        <a:p>
          <a:r>
            <a:rPr lang="de" sz="2800" b="0" i="0" strike="noStrike" cap="none" spc="0" baseline="0">
              <a:solidFill>
                <a:srgbClr val="FFFFFF"/>
              </a:solidFill>
              <a:effectLst/>
              <a:latin typeface="Calibri"/>
              <a:ea typeface="Calibri"/>
              <a:cs typeface="Calibri"/>
            </a:rPr>
            <a:t> Es gibt zwei verschiedene Arten sexueller Belästigung:</a:t>
          </a:r>
          <a:endParaRPr lang="en-US"/>
        </a:p>
      </dgm:t>
    </dgm:pt>
    <dgm:pt modelId="{D73A1FCF-5D89-4468-800A-D8F31CB13DD3}" type="parTrans" cxnId="{845D31E6-4E07-4B97-8571-4D3CE5260CBC}">
      <dgm:prSet/>
      <dgm:spPr/>
      <dgm:t>
        <a:bodyPr/>
        <a:lstStyle/>
        <a:p>
          <a:endParaRPr lang="en-US"/>
        </a:p>
      </dgm:t>
    </dgm:pt>
    <dgm:pt modelId="{51D27A79-C8E2-42E1-AC9E-C97553C130EA}">
      <dgm:prSet custT="1"/>
      <dgm:spPr>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dgm:spPr>
      <dgm:t>
        <a:bodyPr/>
        <a:lstStyle/>
        <a:p>
          <a:r>
            <a:rPr lang="de" sz="1400" b="1" i="0" u="sng" strike="noStrike" cap="none" spc="0" baseline="0">
              <a:solidFill>
                <a:srgbClr val="FFFFFF"/>
              </a:solidFill>
              <a:effectLst/>
              <a:uFill>
                <a:solidFill>
                  <a:srgbClr val="FFFFFF"/>
                </a:solidFill>
              </a:uFill>
              <a:latin typeface="Calibri"/>
              <a:ea typeface="Calibri"/>
              <a:cs typeface="Calibri"/>
            </a:rPr>
            <a:t>Pro-Quote aufgeben</a:t>
          </a:r>
          <a:endParaRPr lang="en-GB">
            <a:solidFill>
              <a:srgbClr val="FF0000"/>
            </a:solidFill>
          </a:endParaRPr>
        </a:p>
        <a:p>
          <a:r>
            <a:rPr lang="de" sz="1400" b="0" i="0" strike="noStrike" cap="none" spc="0" baseline="0">
              <a:solidFill>
                <a:srgbClr val="FFFFFF"/>
              </a:solidFill>
              <a:effectLst/>
              <a:latin typeface="Calibri"/>
              <a:ea typeface="Calibri"/>
              <a:cs typeface="Calibri"/>
            </a:rPr>
            <a:t>Quid Pro Quo ist lateinisch und bedeutet „für das“ und bedeutet, dass Arbeitsentscheidungen darauf basieren, ob jemand unerwünschtes sexuelles Verhalten akzeptiert oder ablehnt.</a:t>
          </a:r>
        </a:p>
        <a:p>
          <a:r>
            <a:rPr lang="de" sz="1400" b="0" i="0" strike="noStrike" cap="none" spc="0" baseline="0">
              <a:solidFill>
                <a:srgbClr val="FFFFFF"/>
              </a:solidFill>
              <a:effectLst/>
              <a:latin typeface="Calibri"/>
              <a:ea typeface="Calibri"/>
              <a:cs typeface="Calibri"/>
            </a:rPr>
            <a:t> Es kann sich um sexuelles, intimes oder romantisches Verhalten handeln.</a:t>
          </a:r>
        </a:p>
        <a:p>
          <a:r>
            <a:rPr lang="de" sz="1400" b="0" i="0" strike="noStrike" cap="none" spc="0" baseline="0">
              <a:solidFill>
                <a:srgbClr val="FFFFFF"/>
              </a:solidFill>
              <a:effectLst/>
              <a:latin typeface="Calibri"/>
              <a:ea typeface="Calibri"/>
              <a:cs typeface="Calibri"/>
            </a:rPr>
            <a:t> Es bezieht immer Manager oder andere in Autoritätspositionen ein. </a:t>
          </a:r>
          <a:endParaRPr lang="en-US"/>
        </a:p>
      </dgm:t>
    </dgm:pt>
    <dgm:pt modelId="{B9D1F81C-EB2C-4FF9-8BBE-58D3F5068E79}" type="sibTrans" cxnId="{845D31E6-4E07-4B97-8571-4D3CE5260CBC}">
      <dgm:prSet/>
      <dgm:spPr/>
      <dgm:t>
        <a:bodyPr/>
        <a:lstStyle/>
        <a:p>
          <a:endParaRPr lang="en-US"/>
        </a:p>
      </dgm:t>
    </dgm:pt>
    <dgm:pt modelId="{72A70C7C-CE84-4C90-BD05-A83F54C37871}" type="parTrans" cxnId="{9E43407B-E3E8-4AD1-A95D-59149A7521B5}">
      <dgm:prSet/>
      <dgm:spPr/>
      <dgm:t>
        <a:bodyPr/>
        <a:lstStyle/>
        <a:p>
          <a:endParaRPr lang="en-US"/>
        </a:p>
      </dgm:t>
    </dgm:pt>
    <dgm:pt modelId="{404D2D27-F06D-476A-9332-E8BF77820EE3}">
      <dgm:prSet custT="1"/>
      <dgm:spPr>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dgm:spPr>
      <dgm:t>
        <a:bodyPr/>
        <a:lstStyle/>
        <a:p>
          <a:r>
            <a:rPr lang="de" sz="1400" b="1" i="0" u="sng" strike="noStrike" cap="none" spc="0" baseline="0">
              <a:solidFill>
                <a:srgbClr val="FFFFFF"/>
              </a:solidFill>
              <a:effectLst/>
              <a:uFill>
                <a:solidFill>
                  <a:srgbClr val="FFFFFF"/>
                </a:solidFill>
              </a:uFill>
              <a:latin typeface="Calibri"/>
              <a:ea typeface="Calibri"/>
              <a:cs typeface="Calibri"/>
            </a:rPr>
            <a:t>Feindseliges Arbeitsumfeld</a:t>
          </a:r>
          <a:r>
            <a:rPr lang="de" sz="1400" b="0" i="0" strike="noStrike" cap="none" spc="0" baseline="0">
              <a:solidFill>
                <a:srgbClr val="FF0000"/>
              </a:solidFill>
              <a:effectLst/>
              <a:latin typeface="Calibri"/>
              <a:ea typeface="Calibri"/>
              <a:cs typeface="Calibri"/>
            </a:rPr>
            <a:t> </a:t>
          </a:r>
        </a:p>
        <a:p>
          <a:r>
            <a:rPr lang="de" sz="1400" b="0" i="0" strike="noStrike" cap="none" spc="0" baseline="0">
              <a:solidFill>
                <a:srgbClr val="FFFFFF"/>
              </a:solidFill>
              <a:effectLst/>
              <a:latin typeface="Calibri"/>
              <a:ea typeface="Calibri"/>
              <a:cs typeface="Calibri"/>
            </a:rPr>
            <a:t>Unerwünschtes Verhalten, das ein einschüchterndes, feindseliges, erniedrigendes, demütigendes oder beleidigendes Arbeitsumfeld schafft. </a:t>
          </a:r>
        </a:p>
        <a:p>
          <a:r>
            <a:rPr lang="de" sz="1400" b="0" i="0" strike="noStrike" cap="none" spc="0" baseline="0">
              <a:solidFill>
                <a:srgbClr val="FFFFFF"/>
              </a:solidFill>
              <a:effectLst/>
              <a:latin typeface="Calibri"/>
              <a:ea typeface="Calibri"/>
              <a:cs typeface="Calibri"/>
            </a:rPr>
            <a:t>Kann verbales, visuelles, physisches, digitales oder schriftliches Verhalten sein. </a:t>
          </a:r>
        </a:p>
        <a:p>
          <a:r>
            <a:rPr lang="de" sz="1400" b="0" i="0" strike="noStrike" cap="none" spc="0" baseline="0">
              <a:solidFill>
                <a:srgbClr val="FFFFFF"/>
              </a:solidFill>
              <a:effectLst/>
              <a:latin typeface="Calibri"/>
              <a:ea typeface="Calibri"/>
              <a:cs typeface="Calibri"/>
            </a:rPr>
            <a:t>Jeder – nicht nur jemand in einer Autoritätsposition – kann sich an dieser Art von rechtswidrigem Verhalten beteiligen. </a:t>
          </a:r>
          <a:endParaRPr lang="en-US"/>
        </a:p>
      </dgm:t>
    </dgm:pt>
    <dgm:pt modelId="{EED6236B-CB0B-475F-B61A-A7580C606347}" type="sibTrans" cxnId="{9E43407B-E3E8-4AD1-A95D-59149A7521B5}">
      <dgm:prSet/>
      <dgm:spPr/>
      <dgm:t>
        <a:bodyPr/>
        <a:lstStyle/>
        <a:p>
          <a:endParaRPr lang="en-US"/>
        </a:p>
      </dgm:t>
    </dgm:pt>
    <dgm:pt modelId="{24DA7CF3-04CE-4B21-BB47-B688A733DCCB}" type="sibTrans" cxnId="{61872DD1-5060-47E1-973A-D837604A51D9}">
      <dgm:prSet/>
      <dgm:spPr/>
      <dgm:t>
        <a:bodyPr/>
        <a:lstStyle/>
        <a:p>
          <a:endParaRPr lang="en-US"/>
        </a:p>
      </dgm:t>
    </dgm:pt>
    <dgm:pt modelId="{82C30EA1-251F-44D7-BE08-B40408335ACD}" type="pres">
      <dgm:prSet presAssocID="{3CDF3A72-4E7D-44E7-9126-943CBEB76C39}" presName="Name0" presStyleCnt="0">
        <dgm:presLayoutVars>
          <dgm:chPref val="1"/>
          <dgm:dir/>
          <dgm:animOne val="branch"/>
          <dgm:animLvl val="lvl"/>
          <dgm:resizeHandles/>
        </dgm:presLayoutVars>
      </dgm:prSet>
      <dgm:spPr/>
    </dgm:pt>
    <dgm:pt modelId="{ABB18B46-294A-49A7-B30A-B2315553F715}" type="pres">
      <dgm:prSet presAssocID="{E709D1A9-032D-4046-915C-1A3C52F288E6}" presName="vertOne" presStyleCnt="0"/>
      <dgm:spPr/>
    </dgm:pt>
    <dgm:pt modelId="{F0682F32-5C4B-42CE-AEF9-AB56A3FF7419}" type="pres">
      <dgm:prSet presAssocID="{E709D1A9-032D-4046-915C-1A3C52F288E6}" presName="txOne" presStyleLbl="node0" presStyleIdx="0" presStyleCnt="1">
        <dgm:presLayoutVars>
          <dgm:chPref val="3"/>
        </dgm:presLayoutVars>
      </dgm:prSet>
      <dgm:spPr/>
    </dgm:pt>
    <dgm:pt modelId="{47C39050-60A1-45EB-A1DD-8FA91BF0A74E}" type="pres">
      <dgm:prSet presAssocID="{E709D1A9-032D-4046-915C-1A3C52F288E6}" presName="parTransOne" presStyleCnt="0"/>
      <dgm:spPr/>
    </dgm:pt>
    <dgm:pt modelId="{ED6B47B3-E8E0-457E-AE81-9960865A6ADF}" type="pres">
      <dgm:prSet presAssocID="{E709D1A9-032D-4046-915C-1A3C52F288E6}" presName="horzOne" presStyleCnt="0"/>
      <dgm:spPr/>
    </dgm:pt>
    <dgm:pt modelId="{15624F3B-1895-4B52-823A-54BED7D68C96}" type="pres">
      <dgm:prSet presAssocID="{51D27A79-C8E2-42E1-AC9E-C97553C130EA}" presName="vertTwo" presStyleCnt="0"/>
      <dgm:spPr/>
    </dgm:pt>
    <dgm:pt modelId="{2BBD0B2E-4BE4-48AC-A125-1761F93E54D0}" type="pres">
      <dgm:prSet presAssocID="{51D27A79-C8E2-42E1-AC9E-C97553C130EA}" presName="txTwo" presStyleLbl="node2" presStyleIdx="0" presStyleCnt="2">
        <dgm:presLayoutVars>
          <dgm:chPref val="3"/>
        </dgm:presLayoutVars>
      </dgm:prSet>
      <dgm:spPr/>
    </dgm:pt>
    <dgm:pt modelId="{B6D935AB-6C09-464B-8F9B-2DF172217FA9}" type="pres">
      <dgm:prSet presAssocID="{51D27A79-C8E2-42E1-AC9E-C97553C130EA}" presName="horzTwo" presStyleCnt="0"/>
      <dgm:spPr/>
    </dgm:pt>
    <dgm:pt modelId="{B06879F3-AC6C-40F1-8DBB-CF135CEB9770}" type="pres">
      <dgm:prSet presAssocID="{B9D1F81C-EB2C-4FF9-8BBE-58D3F5068E79}" presName="sibSpaceTwo" presStyleCnt="0"/>
      <dgm:spPr/>
    </dgm:pt>
    <dgm:pt modelId="{0B186A5D-5DB3-4AF4-BCA8-CD369901CAD6}" type="pres">
      <dgm:prSet presAssocID="{404D2D27-F06D-476A-9332-E8BF77820EE3}" presName="vertTwo" presStyleCnt="0"/>
      <dgm:spPr/>
    </dgm:pt>
    <dgm:pt modelId="{88F1ABA4-3573-4291-80C5-CCCD060891F4}" type="pres">
      <dgm:prSet presAssocID="{404D2D27-F06D-476A-9332-E8BF77820EE3}" presName="txTwo" presStyleLbl="node2" presStyleIdx="1" presStyleCnt="2">
        <dgm:presLayoutVars>
          <dgm:chPref val="3"/>
        </dgm:presLayoutVars>
      </dgm:prSet>
      <dgm:spPr/>
    </dgm:pt>
    <dgm:pt modelId="{8B56421F-E0C0-4619-AA40-3517D4B3DB3B}" type="pres">
      <dgm:prSet presAssocID="{404D2D27-F06D-476A-9332-E8BF77820EE3}" presName="horzTwo" presStyleCnt="0"/>
      <dgm:spPr/>
    </dgm:pt>
  </dgm:ptLst>
  <dgm:cxnLst>
    <dgm:cxn modelId="{9E43407B-E3E8-4AD1-A95D-59149A7521B5}" srcId="{E709D1A9-032D-4046-915C-1A3C52F288E6}" destId="{404D2D27-F06D-476A-9332-E8BF77820EE3}" srcOrd="1" destOrd="0" parTransId="{72A70C7C-CE84-4C90-BD05-A83F54C37871}" sibTransId="{EED6236B-CB0B-475F-B61A-A7580C606347}"/>
    <dgm:cxn modelId="{660927AC-712D-479B-A86F-9F45B363E46C}" type="presOf" srcId="{404D2D27-F06D-476A-9332-E8BF77820EE3}" destId="{88F1ABA4-3573-4291-80C5-CCCD060891F4}" srcOrd="0" destOrd="0" presId="urn:microsoft.com/office/officeart/2005/8/layout/hierarchy4"/>
    <dgm:cxn modelId="{5235D4BF-70CE-467F-896C-91CA202391DB}" type="presOf" srcId="{3CDF3A72-4E7D-44E7-9126-943CBEB76C39}" destId="{82C30EA1-251F-44D7-BE08-B40408335ACD}" srcOrd="0" destOrd="0" presId="urn:microsoft.com/office/officeart/2005/8/layout/hierarchy4"/>
    <dgm:cxn modelId="{61872DD1-5060-47E1-973A-D837604A51D9}" srcId="{3CDF3A72-4E7D-44E7-9126-943CBEB76C39}" destId="{E709D1A9-032D-4046-915C-1A3C52F288E6}" srcOrd="0" destOrd="0" parTransId="{CE90C112-028F-4005-BE5A-58F1022297C6}" sibTransId="{24DA7CF3-04CE-4B21-BB47-B688A733DCCB}"/>
    <dgm:cxn modelId="{438BCDD6-8477-42BA-995C-3128ADB87E1C}" type="presOf" srcId="{51D27A79-C8E2-42E1-AC9E-C97553C130EA}" destId="{2BBD0B2E-4BE4-48AC-A125-1761F93E54D0}" srcOrd="0" destOrd="0" presId="urn:microsoft.com/office/officeart/2005/8/layout/hierarchy4"/>
    <dgm:cxn modelId="{845D31E6-4E07-4B97-8571-4D3CE5260CBC}" srcId="{E709D1A9-032D-4046-915C-1A3C52F288E6}" destId="{51D27A79-C8E2-42E1-AC9E-C97553C130EA}" srcOrd="0" destOrd="0" parTransId="{D73A1FCF-5D89-4468-800A-D8F31CB13DD3}" sibTransId="{B9D1F81C-EB2C-4FF9-8BBE-58D3F5068E79}"/>
    <dgm:cxn modelId="{EC9507F3-A30F-47F0-B22B-7F5F50D95607}" type="presOf" srcId="{E709D1A9-032D-4046-915C-1A3C52F288E6}" destId="{F0682F32-5C4B-42CE-AEF9-AB56A3FF7419}" srcOrd="0" destOrd="0" presId="urn:microsoft.com/office/officeart/2005/8/layout/hierarchy4"/>
    <dgm:cxn modelId="{78427F83-B0DF-42DC-8EFF-8E162BF58EA9}" type="presParOf" srcId="{82C30EA1-251F-44D7-BE08-B40408335ACD}" destId="{ABB18B46-294A-49A7-B30A-B2315553F715}" srcOrd="0" destOrd="0" presId="urn:microsoft.com/office/officeart/2005/8/layout/hierarchy4"/>
    <dgm:cxn modelId="{8BF8B928-09FC-4C86-9963-1FC829757629}" type="presParOf" srcId="{ABB18B46-294A-49A7-B30A-B2315553F715}" destId="{F0682F32-5C4B-42CE-AEF9-AB56A3FF7419}" srcOrd="0" destOrd="0" presId="urn:microsoft.com/office/officeart/2005/8/layout/hierarchy4"/>
    <dgm:cxn modelId="{4B099EEE-2702-43C4-9ED6-64656C3411CB}" type="presParOf" srcId="{ABB18B46-294A-49A7-B30A-B2315553F715}" destId="{47C39050-60A1-45EB-A1DD-8FA91BF0A74E}" srcOrd="1" destOrd="0" presId="urn:microsoft.com/office/officeart/2005/8/layout/hierarchy4"/>
    <dgm:cxn modelId="{88FC3BBA-B2BF-440E-8276-0F12FE9E7229}" type="presParOf" srcId="{ABB18B46-294A-49A7-B30A-B2315553F715}" destId="{ED6B47B3-E8E0-457E-AE81-9960865A6ADF}" srcOrd="2" destOrd="0" presId="urn:microsoft.com/office/officeart/2005/8/layout/hierarchy4"/>
    <dgm:cxn modelId="{0EC03A03-5830-41A6-977B-D48C2B7CD89E}" type="presParOf" srcId="{ED6B47B3-E8E0-457E-AE81-9960865A6ADF}" destId="{15624F3B-1895-4B52-823A-54BED7D68C96}" srcOrd="0" destOrd="0" presId="urn:microsoft.com/office/officeart/2005/8/layout/hierarchy4"/>
    <dgm:cxn modelId="{D54747D5-CBAF-4D55-88A7-8E59DCB23004}" type="presParOf" srcId="{15624F3B-1895-4B52-823A-54BED7D68C96}" destId="{2BBD0B2E-4BE4-48AC-A125-1761F93E54D0}" srcOrd="0" destOrd="0" presId="urn:microsoft.com/office/officeart/2005/8/layout/hierarchy4"/>
    <dgm:cxn modelId="{F4881CB2-E51F-434A-8415-C592DC41B70B}" type="presParOf" srcId="{15624F3B-1895-4B52-823A-54BED7D68C96}" destId="{B6D935AB-6C09-464B-8F9B-2DF172217FA9}" srcOrd="1" destOrd="0" presId="urn:microsoft.com/office/officeart/2005/8/layout/hierarchy4"/>
    <dgm:cxn modelId="{25204408-1053-4188-AC4C-2AEBB6E4D153}" type="presParOf" srcId="{ED6B47B3-E8E0-457E-AE81-9960865A6ADF}" destId="{B06879F3-AC6C-40F1-8DBB-CF135CEB9770}" srcOrd="1" destOrd="0" presId="urn:microsoft.com/office/officeart/2005/8/layout/hierarchy4"/>
    <dgm:cxn modelId="{79C541B0-18E0-46CD-9737-0C8A6AEACF0E}" type="presParOf" srcId="{ED6B47B3-E8E0-457E-AE81-9960865A6ADF}" destId="{0B186A5D-5DB3-4AF4-BCA8-CD369901CAD6}" srcOrd="2" destOrd="0" presId="urn:microsoft.com/office/officeart/2005/8/layout/hierarchy4"/>
    <dgm:cxn modelId="{6DC00CAC-5676-4078-A3A0-B05D663B4810}" type="presParOf" srcId="{0B186A5D-5DB3-4AF4-BCA8-CD369901CAD6}" destId="{88F1ABA4-3573-4291-80C5-CCCD060891F4}" srcOrd="0" destOrd="0" presId="urn:microsoft.com/office/officeart/2005/8/layout/hierarchy4"/>
    <dgm:cxn modelId="{B207339C-1F76-4FA1-A3A4-E0A2E37D3573}" type="presParOf" srcId="{0B186A5D-5DB3-4AF4-BCA8-CD369901CAD6}" destId="{8B56421F-E0C0-4619-AA40-3517D4B3DB3B}"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5.xml><?xml version="1.0" encoding="utf-8"?>
<dgm:dataModel xmlns:dgm="http://schemas.openxmlformats.org/drawingml/2006/diagram" xmlns:a="http://schemas.openxmlformats.org/drawingml/2006/main">
  <dgm:ptLst>
    <dgm:pt modelId="{98179FEE-AD99-4ACA-935F-5EA74350364A}"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9CEB55FE-D4C3-4C96-A765-B1B2DE801E09}" type="parTrans" cxnId="{E34F1C85-61BE-40FF-B27B-3908EDF00921}">
      <dgm:prSet/>
      <dgm:spPr/>
      <dgm:t>
        <a:bodyPr/>
        <a:lstStyle/>
        <a:p>
          <a:endParaRPr lang="en-US"/>
        </a:p>
      </dgm:t>
    </dgm:pt>
    <dgm:pt modelId="{285BBEBE-0734-4A0A-AC7C-BCC18058FA1C}">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3200" b="0" i="0" strike="noStrike" cap="none" spc="0" baseline="0">
              <a:solidFill>
                <a:srgbClr val="FFFFFF"/>
              </a:solidFill>
              <a:effectLst/>
              <a:latin typeface="Calibri"/>
              <a:ea typeface="Calibri"/>
              <a:cs typeface="Calibri"/>
            </a:rPr>
            <a:t>Eine feindselige Arbeitsumgebung kann Folgendes umfassen:</a:t>
          </a:r>
          <a:endParaRPr lang="en-US"/>
        </a:p>
      </dgm:t>
    </dgm:pt>
    <dgm:pt modelId="{42D87832-43F4-4BBA-AC18-2696167CC65A}" type="parTrans" cxnId="{C6896558-21AD-4797-AD29-A9A947C5829E}">
      <dgm:prSet/>
      <dgm:spPr/>
      <dgm:t>
        <a:bodyPr/>
        <a:lstStyle/>
        <a:p>
          <a:endParaRPr lang="en-US"/>
        </a:p>
      </dgm:t>
    </dgm:pt>
    <dgm:pt modelId="{30D3E5F8-452C-48F4-8796-2E567C55EECB}">
      <dgm:prSet custT="1"/>
      <dgm:spPr>
        <a:noFill/>
        <a:ln>
          <a:noFill/>
        </a:ln>
      </dgm:spPr>
      <dgm:t>
        <a:bodyPr/>
        <a:lstStyle/>
        <a:p>
          <a:r>
            <a:rPr lang="de" sz="2500" b="0" i="0" strike="noStrike" cap="none" spc="0" baseline="0">
              <a:solidFill>
                <a:srgbClr val="000000"/>
              </a:solidFill>
              <a:effectLst/>
              <a:latin typeface="Calibri"/>
              <a:ea typeface="Calibri"/>
              <a:cs typeface="Calibri"/>
            </a:rPr>
            <a:t>Ein einzelner, schwerwiegender Vorfall</a:t>
          </a:r>
          <a:endParaRPr lang="en-US"/>
        </a:p>
      </dgm:t>
    </dgm:pt>
    <dgm:pt modelId="{295691BB-E9F3-4CE3-9494-876350D324AA}" type="sibTrans" cxnId="{C6896558-21AD-4797-AD29-A9A947C5829E}">
      <dgm:prSet/>
      <dgm:spPr/>
      <dgm:t>
        <a:bodyPr/>
        <a:lstStyle/>
        <a:p>
          <a:endParaRPr lang="en-US"/>
        </a:p>
      </dgm:t>
    </dgm:pt>
    <dgm:pt modelId="{579DADD7-F02E-4DDF-A6ED-B478DE045EC5}" type="parTrans" cxnId="{AB6A09D2-B4AA-44EB-A427-E012FF6D1FC4}">
      <dgm:prSet/>
      <dgm:spPr/>
      <dgm:t>
        <a:bodyPr/>
        <a:lstStyle/>
        <a:p>
          <a:endParaRPr lang="en-US"/>
        </a:p>
      </dgm:t>
    </dgm:pt>
    <dgm:pt modelId="{5642C7EE-3FA5-48FC-90AC-17A317932B02}">
      <dgm:prSet custT="1"/>
      <dgm:spPr>
        <a:noFill/>
        <a:ln>
          <a:noFill/>
        </a:ln>
      </dgm:spPr>
      <dgm:t>
        <a:bodyPr/>
        <a:lstStyle/>
        <a:p>
          <a:r>
            <a:rPr lang="de" sz="2500" b="0" i="0" strike="noStrike" cap="none" spc="0" baseline="0">
              <a:solidFill>
                <a:srgbClr val="000000"/>
              </a:solidFill>
              <a:effectLst/>
              <a:latin typeface="Calibri"/>
              <a:ea typeface="Calibri"/>
              <a:cs typeface="Calibri"/>
            </a:rPr>
            <a:t>Ein Muster kleinerer Vorfälle, die sich im Laufe der Zeit entwickeln</a:t>
          </a:r>
          <a:endParaRPr lang="en-US"/>
        </a:p>
      </dgm:t>
    </dgm:pt>
    <dgm:pt modelId="{E3775CD1-D340-4E93-990E-06E64EF14947}" type="sibTrans" cxnId="{AB6A09D2-B4AA-44EB-A427-E012FF6D1FC4}">
      <dgm:prSet/>
      <dgm:spPr/>
      <dgm:t>
        <a:bodyPr/>
        <a:lstStyle/>
        <a:p>
          <a:endParaRPr lang="en-US"/>
        </a:p>
      </dgm:t>
    </dgm:pt>
    <dgm:pt modelId="{CD81B35C-B2B0-4868-BBD5-6826E5EEF160}" type="sibTrans" cxnId="{E34F1C85-61BE-40FF-B27B-3908EDF00921}">
      <dgm:prSet/>
      <dgm:spPr/>
      <dgm:t>
        <a:bodyPr/>
        <a:lstStyle/>
        <a:p>
          <a:endParaRPr lang="en-US"/>
        </a:p>
      </dgm:t>
    </dgm:pt>
    <dgm:pt modelId="{189A9E5F-C66B-4AAA-B987-7459E9AD8F08}" type="parTrans" cxnId="{6949F062-343B-4513-A155-334FE9C176B9}">
      <dgm:prSet/>
      <dgm:spPr/>
      <dgm:t>
        <a:bodyPr/>
        <a:lstStyle/>
        <a:p>
          <a:endParaRPr lang="en-US"/>
        </a:p>
      </dgm:t>
    </dgm:pt>
    <dgm:pt modelId="{BF4022B4-D80B-461E-98CB-999DC58D8A83}">
      <dgm:prSe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3200" b="0" i="0" strike="noStrike" cap="none" spc="0" baseline="0">
              <a:solidFill>
                <a:srgbClr val="FFFFFF"/>
              </a:solidFill>
              <a:effectLst/>
              <a:latin typeface="Calibri"/>
              <a:ea typeface="Calibri"/>
              <a:cs typeface="Calibri"/>
            </a:rPr>
            <a:t>Ein Verhaltensmuster kann für andere unsichtbar sein </a:t>
          </a:r>
          <a:endParaRPr lang="en-US"/>
        </a:p>
      </dgm:t>
    </dgm:pt>
    <dgm:pt modelId="{B70CA4F2-DAD3-4114-9B42-94805D0B5735}" type="sibTrans" cxnId="{6949F062-343B-4513-A155-334FE9C176B9}">
      <dgm:prSet/>
      <dgm:spPr/>
      <dgm:t>
        <a:bodyPr/>
        <a:lstStyle/>
        <a:p>
          <a:endParaRPr lang="en-US"/>
        </a:p>
      </dgm:t>
    </dgm:pt>
    <dgm:pt modelId="{3BF44B03-DF2D-4D64-A3F2-5799B0E59223}" type="pres">
      <dgm:prSet presAssocID="{98179FEE-AD99-4ACA-935F-5EA74350364A}" presName="linear" presStyleCnt="0">
        <dgm:presLayoutVars>
          <dgm:animLvl val="lvl"/>
          <dgm:resizeHandles val="exact"/>
        </dgm:presLayoutVars>
      </dgm:prSet>
      <dgm:spPr/>
    </dgm:pt>
    <dgm:pt modelId="{9348B920-B1E0-4886-9BA5-B1554C666682}" type="pres">
      <dgm:prSet presAssocID="{285BBEBE-0734-4A0A-AC7C-BCC18058FA1C}" presName="parentText" presStyleLbl="node1" presStyleIdx="0" presStyleCnt="2">
        <dgm:presLayoutVars>
          <dgm:chMax val="0"/>
          <dgm:bulletEnabled val="1"/>
        </dgm:presLayoutVars>
      </dgm:prSet>
      <dgm:spPr/>
    </dgm:pt>
    <dgm:pt modelId="{7652FA92-FF02-4F9E-A627-EE14DD86AB00}" type="pres">
      <dgm:prSet presAssocID="{285BBEBE-0734-4A0A-AC7C-BCC18058FA1C}" presName="childText" presStyleLbl="revTx" presStyleIdx="0" presStyleCnt="1">
        <dgm:presLayoutVars>
          <dgm:bulletEnabled val="1"/>
        </dgm:presLayoutVars>
      </dgm:prSet>
      <dgm:spPr/>
    </dgm:pt>
    <dgm:pt modelId="{33BCEC26-C14D-4C1B-A0A8-57892C4646B9}" type="pres">
      <dgm:prSet presAssocID="{BF4022B4-D80B-461E-98CB-999DC58D8A83}" presName="parentText" presStyleLbl="node1" presStyleIdx="1" presStyleCnt="2">
        <dgm:presLayoutVars>
          <dgm:chMax val="0"/>
          <dgm:bulletEnabled val="1"/>
        </dgm:presLayoutVars>
      </dgm:prSet>
      <dgm:spPr/>
    </dgm:pt>
  </dgm:ptLst>
  <dgm:cxnLst>
    <dgm:cxn modelId="{8EE5EB36-99F9-4917-88A1-4BF8E0CA3210}" type="presOf" srcId="{98179FEE-AD99-4ACA-935F-5EA74350364A}" destId="{3BF44B03-DF2D-4D64-A3F2-5799B0E59223}" srcOrd="0" destOrd="0" presId="urn:microsoft.com/office/officeart/2005/8/layout/vList2"/>
    <dgm:cxn modelId="{242C615D-CE0A-4E73-B859-65CC2553F252}" type="presOf" srcId="{285BBEBE-0734-4A0A-AC7C-BCC18058FA1C}" destId="{9348B920-B1E0-4886-9BA5-B1554C666682}" srcOrd="0" destOrd="0" presId="urn:microsoft.com/office/officeart/2005/8/layout/vList2"/>
    <dgm:cxn modelId="{6949F062-343B-4513-A155-334FE9C176B9}" srcId="{98179FEE-AD99-4ACA-935F-5EA74350364A}" destId="{BF4022B4-D80B-461E-98CB-999DC58D8A83}" srcOrd="1" destOrd="0" parTransId="{189A9E5F-C66B-4AAA-B987-7459E9AD8F08}" sibTransId="{B70CA4F2-DAD3-4114-9B42-94805D0B5735}"/>
    <dgm:cxn modelId="{C6896558-21AD-4797-AD29-A9A947C5829E}" srcId="{285BBEBE-0734-4A0A-AC7C-BCC18058FA1C}" destId="{30D3E5F8-452C-48F4-8796-2E567C55EECB}" srcOrd="0" destOrd="0" parTransId="{42D87832-43F4-4BBA-AC18-2696167CC65A}" sibTransId="{295691BB-E9F3-4CE3-9494-876350D324AA}"/>
    <dgm:cxn modelId="{E34F1C85-61BE-40FF-B27B-3908EDF00921}" srcId="{98179FEE-AD99-4ACA-935F-5EA74350364A}" destId="{285BBEBE-0734-4A0A-AC7C-BCC18058FA1C}" srcOrd="0" destOrd="0" parTransId="{9CEB55FE-D4C3-4C96-A765-B1B2DE801E09}" sibTransId="{CD81B35C-B2B0-4868-BBD5-6826E5EEF160}"/>
    <dgm:cxn modelId="{D14C2E86-2C61-418B-80A3-EC429026FDBB}" type="presOf" srcId="{5642C7EE-3FA5-48FC-90AC-17A317932B02}" destId="{7652FA92-FF02-4F9E-A627-EE14DD86AB00}" srcOrd="0" destOrd="1" presId="urn:microsoft.com/office/officeart/2005/8/layout/vList2"/>
    <dgm:cxn modelId="{E974FA95-F2ED-45DE-AB56-C2CBF3D37CF5}" type="presOf" srcId="{BF4022B4-D80B-461E-98CB-999DC58D8A83}" destId="{33BCEC26-C14D-4C1B-A0A8-57892C4646B9}" srcOrd="0" destOrd="0" presId="urn:microsoft.com/office/officeart/2005/8/layout/vList2"/>
    <dgm:cxn modelId="{96E09ABE-EA47-4A21-9760-DFD243569C43}" type="presOf" srcId="{30D3E5F8-452C-48F4-8796-2E567C55EECB}" destId="{7652FA92-FF02-4F9E-A627-EE14DD86AB00}" srcOrd="0" destOrd="0" presId="urn:microsoft.com/office/officeart/2005/8/layout/vList2"/>
    <dgm:cxn modelId="{AB6A09D2-B4AA-44EB-A427-E012FF6D1FC4}" srcId="{285BBEBE-0734-4A0A-AC7C-BCC18058FA1C}" destId="{5642C7EE-3FA5-48FC-90AC-17A317932B02}" srcOrd="1" destOrd="0" parTransId="{579DADD7-F02E-4DDF-A6ED-B478DE045EC5}" sibTransId="{E3775CD1-D340-4E93-990E-06E64EF14947}"/>
    <dgm:cxn modelId="{41BEDB4F-CBDE-4F26-900E-FF6458B422FF}" type="presParOf" srcId="{3BF44B03-DF2D-4D64-A3F2-5799B0E59223}" destId="{9348B920-B1E0-4886-9BA5-B1554C666682}" srcOrd="0" destOrd="0" presId="urn:microsoft.com/office/officeart/2005/8/layout/vList2"/>
    <dgm:cxn modelId="{0A6BC661-B75B-4988-9CF7-CF02C56C6532}" type="presParOf" srcId="{3BF44B03-DF2D-4D64-A3F2-5799B0E59223}" destId="{7652FA92-FF02-4F9E-A627-EE14DD86AB00}" srcOrd="1" destOrd="0" presId="urn:microsoft.com/office/officeart/2005/8/layout/vList2"/>
    <dgm:cxn modelId="{E9390CAA-4E21-4E36-BAF5-E92CB0DCB299}" type="presParOf" srcId="{3BF44B03-DF2D-4D64-A3F2-5799B0E59223}" destId="{33BCEC26-C14D-4C1B-A0A8-57892C4646B9}"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6.xml><?xml version="1.0" encoding="utf-8"?>
<dgm:dataModel xmlns:dgm="http://schemas.openxmlformats.org/drawingml/2006/diagram" xmlns:a="http://schemas.openxmlformats.org/drawingml/2006/main">
  <dgm:ptLst>
    <dgm:pt modelId="{F58039EE-AE95-403B-AC13-37ADF24CD098}" type="doc">
      <dgm:prSet loTypeId="urn:microsoft.com/office/officeart/2009/3/layout/HorizontalOrganizationChart" loCatId="hierarchy" qsTypeId="urn:microsoft.com/office/officeart/2005/8/quickstyle/simple4" qsCatId="simple" csTypeId="urn:microsoft.com/office/officeart/2005/8/colors/accent1_3" csCatId="accent1" phldr="1"/>
      <dgm:spPr/>
      <dgm:t>
        <a:bodyPr/>
        <a:lstStyle/>
        <a:p>
          <a:endParaRPr lang="en-US"/>
        </a:p>
      </dgm:t>
    </dgm:pt>
    <dgm:pt modelId="{1A2282E7-E75F-4CBB-B6CA-E288DAE36888}" type="parTrans" cxnId="{BF1CB332-4A7B-4706-A9F3-2E116677BB38}">
      <dgm:prSet/>
      <dgm:spPr/>
      <dgm:t>
        <a:bodyPr/>
        <a:lstStyle/>
        <a:p>
          <a:endParaRPr lang="en-US"/>
        </a:p>
      </dgm:t>
    </dgm:pt>
    <dgm:pt modelId="{4EC82B13-A762-48C6-B64B-E54C118DD79C}">
      <dgm:prSet custT="1"/>
      <dgm:spPr/>
      <dgm:t>
        <a:bodyPr/>
        <a:lstStyle/>
        <a:p>
          <a:r>
            <a:rPr lang="de" sz="2800" b="0" i="0" strike="noStrike" cap="none" spc="0" baseline="0" dirty="0">
              <a:solidFill>
                <a:srgbClr val="FFFFFF"/>
              </a:solidFill>
              <a:effectLst/>
              <a:latin typeface="Calibri"/>
              <a:ea typeface="Calibri"/>
              <a:cs typeface="Calibri"/>
            </a:rPr>
            <a:t>Geschlechterstereotypen sind vorgefasste Ideen darüber, wie jemand basierend auf seinem Geschlecht sein, handeln oder sich verhalten sollte</a:t>
          </a:r>
          <a:r>
            <a:rPr lang="de" sz="3500" b="0" i="0" strike="noStrike" cap="none" spc="0" baseline="0" dirty="0">
              <a:solidFill>
                <a:srgbClr val="FFFFFF"/>
              </a:solidFill>
              <a:effectLst/>
              <a:latin typeface="Calibri"/>
              <a:ea typeface="Calibri"/>
              <a:cs typeface="Calibri"/>
            </a:rPr>
            <a:t>. </a:t>
          </a:r>
          <a:endParaRPr lang="en-US" sz="3150" dirty="0"/>
        </a:p>
      </dgm:t>
    </dgm:pt>
    <dgm:pt modelId="{CB7DC1B6-385A-4B8E-BF6A-03802530089F}" type="sibTrans" cxnId="{BF1CB332-4A7B-4706-A9F3-2E116677BB38}">
      <dgm:prSet/>
      <dgm:spPr/>
      <dgm:t>
        <a:bodyPr/>
        <a:lstStyle/>
        <a:p>
          <a:endParaRPr lang="en-US"/>
        </a:p>
      </dgm:t>
    </dgm:pt>
    <dgm:pt modelId="{988ADC6B-3C2E-4E0C-89A0-794AD8D901E9}" type="parTrans" cxnId="{F581F11D-E8CE-459E-8C93-D7618AF3F474}">
      <dgm:prSet/>
      <dgm:spPr/>
      <dgm:t>
        <a:bodyPr/>
        <a:lstStyle/>
        <a:p>
          <a:endParaRPr lang="en-US"/>
        </a:p>
      </dgm:t>
    </dgm:pt>
    <dgm:pt modelId="{C0B314DE-8C9A-4622-9124-4EAC4C631C63}">
      <dgm:prSet custT="1"/>
      <dgm:spPr/>
      <dgm:t>
        <a:bodyPr/>
        <a:lstStyle/>
        <a:p>
          <a:r>
            <a:rPr lang="de" sz="2800" b="0" i="0" strike="noStrike" cap="none" spc="0" baseline="0" dirty="0">
              <a:solidFill>
                <a:srgbClr val="FFFFFF"/>
              </a:solidFill>
              <a:effectLst/>
              <a:latin typeface="Calibri"/>
              <a:ea typeface="Calibri"/>
              <a:cs typeface="Calibri"/>
            </a:rPr>
            <a:t>Zum Beispiel: Sie bitten </a:t>
          </a:r>
          <a:r>
            <a:rPr lang="de" sz="2800" b="0" i="0" u="sng" strike="noStrike" cap="none" spc="0" baseline="0" dirty="0">
              <a:solidFill>
                <a:srgbClr val="FFFFFF"/>
              </a:solidFill>
              <a:effectLst/>
              <a:uFill>
                <a:solidFill>
                  <a:srgbClr val="FFFFFF"/>
                </a:solidFill>
              </a:uFill>
              <a:latin typeface="Calibri"/>
              <a:ea typeface="Calibri"/>
              <a:cs typeface="Calibri"/>
            </a:rPr>
            <a:t>nur</a:t>
          </a:r>
          <a:r>
            <a:rPr lang="de" sz="2800" b="0" i="0" strike="noStrike" cap="none" spc="0" baseline="0" dirty="0">
              <a:solidFill>
                <a:srgbClr val="FFFFFF"/>
              </a:solidFill>
              <a:effectLst/>
              <a:latin typeface="Calibri"/>
              <a:ea typeface="Calibri"/>
              <a:cs typeface="Calibri"/>
            </a:rPr>
            <a:t> weibliche Mitarbeiter, Kaffee und Snacks für den Konferenzraum für das bevorstehende Meeting zu erhalten</a:t>
          </a:r>
          <a:r>
            <a:rPr lang="de" sz="3500" b="0" i="0" strike="noStrike" cap="none" spc="0" baseline="0" dirty="0">
              <a:solidFill>
                <a:srgbClr val="FFFFFF"/>
              </a:solidFill>
              <a:effectLst/>
              <a:latin typeface="Calibri"/>
              <a:ea typeface="Calibri"/>
              <a:cs typeface="Calibri"/>
            </a:rPr>
            <a:t>.</a:t>
          </a:r>
          <a:endParaRPr lang="en-US" sz="3150" dirty="0"/>
        </a:p>
      </dgm:t>
    </dgm:pt>
    <dgm:pt modelId="{A52C1081-60BD-40F3-8777-F01D735B8ADD}" type="sibTrans" cxnId="{F581F11D-E8CE-459E-8C93-D7618AF3F474}">
      <dgm:prSet/>
      <dgm:spPr/>
      <dgm:t>
        <a:bodyPr/>
        <a:lstStyle/>
        <a:p>
          <a:endParaRPr lang="en-US"/>
        </a:p>
      </dgm:t>
    </dgm:pt>
    <dgm:pt modelId="{D897512D-1C5A-425D-A4CA-5FD67064C449}" type="pres">
      <dgm:prSet presAssocID="{F58039EE-AE95-403B-AC13-37ADF24CD098}" presName="hierChild1" presStyleCnt="0">
        <dgm:presLayoutVars>
          <dgm:orgChart val="1"/>
          <dgm:chPref val="1"/>
          <dgm:dir/>
          <dgm:animOne val="branch"/>
          <dgm:animLvl val="lvl"/>
          <dgm:resizeHandles/>
        </dgm:presLayoutVars>
      </dgm:prSet>
      <dgm:spPr/>
    </dgm:pt>
    <dgm:pt modelId="{2A15FFC2-0A3D-49A0-A616-0230EDFF10F9}" type="pres">
      <dgm:prSet presAssocID="{4EC82B13-A762-48C6-B64B-E54C118DD79C}" presName="hierRoot1" presStyleCnt="0">
        <dgm:presLayoutVars>
          <dgm:hierBranch val="init"/>
        </dgm:presLayoutVars>
      </dgm:prSet>
      <dgm:spPr/>
    </dgm:pt>
    <dgm:pt modelId="{19D8EA44-4891-4876-A3FD-75C069271127}" type="pres">
      <dgm:prSet presAssocID="{4EC82B13-A762-48C6-B64B-E54C118DD79C}" presName="rootComposite1" presStyleCnt="0"/>
      <dgm:spPr/>
    </dgm:pt>
    <dgm:pt modelId="{4EDE4789-F2C4-48F7-AD1A-1BC4182425B9}" type="pres">
      <dgm:prSet presAssocID="{4EC82B13-A762-48C6-B64B-E54C118DD79C}" presName="rootText1" presStyleLbl="node0" presStyleIdx="0" presStyleCnt="2">
        <dgm:presLayoutVars>
          <dgm:chPref val="3"/>
        </dgm:presLayoutVars>
      </dgm:prSet>
      <dgm:spPr/>
    </dgm:pt>
    <dgm:pt modelId="{5C8871E6-F55F-4AAC-9444-953BDC8BFF40}" type="pres">
      <dgm:prSet presAssocID="{4EC82B13-A762-48C6-B64B-E54C118DD79C}" presName="rootConnector1" presStyleLbl="node1" presStyleIdx="0" presStyleCnt="0"/>
      <dgm:spPr/>
    </dgm:pt>
    <dgm:pt modelId="{21E6A1A2-09CA-4457-8704-98B51B2825B1}" type="pres">
      <dgm:prSet presAssocID="{4EC82B13-A762-48C6-B64B-E54C118DD79C}" presName="hierChild2" presStyleCnt="0"/>
      <dgm:spPr/>
    </dgm:pt>
    <dgm:pt modelId="{08E6EC52-31E3-4246-B7D1-AE148E6A9594}" type="pres">
      <dgm:prSet presAssocID="{4EC82B13-A762-48C6-B64B-E54C118DD79C}" presName="hierChild3" presStyleCnt="0"/>
      <dgm:spPr/>
    </dgm:pt>
    <dgm:pt modelId="{641A1FB8-31EA-4400-89B2-B84BF9876F04}" type="pres">
      <dgm:prSet presAssocID="{C0B314DE-8C9A-4622-9124-4EAC4C631C63}" presName="hierRoot1" presStyleCnt="0">
        <dgm:presLayoutVars>
          <dgm:hierBranch val="init"/>
        </dgm:presLayoutVars>
      </dgm:prSet>
      <dgm:spPr/>
    </dgm:pt>
    <dgm:pt modelId="{2215DDD9-40C1-42ED-8100-DA0EF97500ED}" type="pres">
      <dgm:prSet presAssocID="{C0B314DE-8C9A-4622-9124-4EAC4C631C63}" presName="rootComposite1" presStyleCnt="0"/>
      <dgm:spPr/>
    </dgm:pt>
    <dgm:pt modelId="{C106FE37-78FC-4B91-AB63-2959EC40C132}" type="pres">
      <dgm:prSet presAssocID="{C0B314DE-8C9A-4622-9124-4EAC4C631C63}" presName="rootText1" presStyleLbl="node0" presStyleIdx="1" presStyleCnt="2">
        <dgm:presLayoutVars>
          <dgm:chPref val="3"/>
        </dgm:presLayoutVars>
      </dgm:prSet>
      <dgm:spPr/>
    </dgm:pt>
    <dgm:pt modelId="{860FFD42-6009-4881-8CA6-B334DA9A8178}" type="pres">
      <dgm:prSet presAssocID="{C0B314DE-8C9A-4622-9124-4EAC4C631C63}" presName="rootConnector1" presStyleLbl="node1" presStyleIdx="0" presStyleCnt="0"/>
      <dgm:spPr/>
    </dgm:pt>
    <dgm:pt modelId="{5CBC7A73-AC05-40F3-8431-9DC6AC782F09}" type="pres">
      <dgm:prSet presAssocID="{C0B314DE-8C9A-4622-9124-4EAC4C631C63}" presName="hierChild2" presStyleCnt="0"/>
      <dgm:spPr/>
    </dgm:pt>
    <dgm:pt modelId="{BCE2ECC5-6A04-4163-8498-00F0736A2636}" type="pres">
      <dgm:prSet presAssocID="{C0B314DE-8C9A-4622-9124-4EAC4C631C63}" presName="hierChild3" presStyleCnt="0"/>
      <dgm:spPr/>
    </dgm:pt>
  </dgm:ptLst>
  <dgm:cxnLst>
    <dgm:cxn modelId="{F581F11D-E8CE-459E-8C93-D7618AF3F474}" srcId="{F58039EE-AE95-403B-AC13-37ADF24CD098}" destId="{C0B314DE-8C9A-4622-9124-4EAC4C631C63}" srcOrd="1" destOrd="0" parTransId="{988ADC6B-3C2E-4E0C-89A0-794AD8D901E9}" sibTransId="{A52C1081-60BD-40F3-8777-F01D735B8ADD}"/>
    <dgm:cxn modelId="{BF1CB332-4A7B-4706-A9F3-2E116677BB38}" srcId="{F58039EE-AE95-403B-AC13-37ADF24CD098}" destId="{4EC82B13-A762-48C6-B64B-E54C118DD79C}" srcOrd="0" destOrd="0" parTransId="{1A2282E7-E75F-4CBB-B6CA-E288DAE36888}" sibTransId="{CB7DC1B6-385A-4B8E-BF6A-03802530089F}"/>
    <dgm:cxn modelId="{20DF2581-ABD8-4540-94A9-97A2015E9D42}" type="presOf" srcId="{C0B314DE-8C9A-4622-9124-4EAC4C631C63}" destId="{C106FE37-78FC-4B91-AB63-2959EC40C132}" srcOrd="0" destOrd="0" presId="urn:microsoft.com/office/officeart/2009/3/layout/HorizontalOrganizationChart"/>
    <dgm:cxn modelId="{B9EE4AAA-3D72-46F7-8EE8-DB31946685D2}" type="presOf" srcId="{F58039EE-AE95-403B-AC13-37ADF24CD098}" destId="{D897512D-1C5A-425D-A4CA-5FD67064C449}" srcOrd="0" destOrd="0" presId="urn:microsoft.com/office/officeart/2009/3/layout/HorizontalOrganizationChart"/>
    <dgm:cxn modelId="{ABFF64C0-4B5B-4330-851F-121615C73228}" type="presOf" srcId="{4EC82B13-A762-48C6-B64B-E54C118DD79C}" destId="{5C8871E6-F55F-4AAC-9444-953BDC8BFF40}" srcOrd="1" destOrd="0" presId="urn:microsoft.com/office/officeart/2009/3/layout/HorizontalOrganizationChart"/>
    <dgm:cxn modelId="{BF0DEDE1-6044-4C28-B9C4-3E89E3EF5886}" type="presOf" srcId="{4EC82B13-A762-48C6-B64B-E54C118DD79C}" destId="{4EDE4789-F2C4-48F7-AD1A-1BC4182425B9}" srcOrd="0" destOrd="0" presId="urn:microsoft.com/office/officeart/2009/3/layout/HorizontalOrganizationChart"/>
    <dgm:cxn modelId="{6F084AF1-93B1-44F3-A568-09A3E22DA3E8}" type="presOf" srcId="{C0B314DE-8C9A-4622-9124-4EAC4C631C63}" destId="{860FFD42-6009-4881-8CA6-B334DA9A8178}" srcOrd="1" destOrd="0" presId="urn:microsoft.com/office/officeart/2009/3/layout/HorizontalOrganizationChart"/>
    <dgm:cxn modelId="{1F7E8CF0-3E76-4C99-9471-3ACFE64260B2}" type="presParOf" srcId="{D897512D-1C5A-425D-A4CA-5FD67064C449}" destId="{2A15FFC2-0A3D-49A0-A616-0230EDFF10F9}" srcOrd="0" destOrd="0" presId="urn:microsoft.com/office/officeart/2009/3/layout/HorizontalOrganizationChart"/>
    <dgm:cxn modelId="{8AD1CBB7-1334-40AB-BBD3-A63CF2AB00EE}" type="presParOf" srcId="{2A15FFC2-0A3D-49A0-A616-0230EDFF10F9}" destId="{19D8EA44-4891-4876-A3FD-75C069271127}" srcOrd="0" destOrd="0" presId="urn:microsoft.com/office/officeart/2009/3/layout/HorizontalOrganizationChart"/>
    <dgm:cxn modelId="{AC934102-D103-4DC4-B101-C996E4885F1F}" type="presParOf" srcId="{19D8EA44-4891-4876-A3FD-75C069271127}" destId="{4EDE4789-F2C4-48F7-AD1A-1BC4182425B9}" srcOrd="0" destOrd="0" presId="urn:microsoft.com/office/officeart/2009/3/layout/HorizontalOrganizationChart"/>
    <dgm:cxn modelId="{1DDDC852-37F7-4F71-AE89-C082F379FFC7}" type="presParOf" srcId="{19D8EA44-4891-4876-A3FD-75C069271127}" destId="{5C8871E6-F55F-4AAC-9444-953BDC8BFF40}" srcOrd="1" destOrd="0" presId="urn:microsoft.com/office/officeart/2009/3/layout/HorizontalOrganizationChart"/>
    <dgm:cxn modelId="{54787737-BDDB-4B0B-B1BA-7BD8074958E5}" type="presParOf" srcId="{2A15FFC2-0A3D-49A0-A616-0230EDFF10F9}" destId="{21E6A1A2-09CA-4457-8704-98B51B2825B1}" srcOrd="1" destOrd="0" presId="urn:microsoft.com/office/officeart/2009/3/layout/HorizontalOrganizationChart"/>
    <dgm:cxn modelId="{874D83FF-8991-4618-AC43-D1C4251C492B}" type="presParOf" srcId="{2A15FFC2-0A3D-49A0-A616-0230EDFF10F9}" destId="{08E6EC52-31E3-4246-B7D1-AE148E6A9594}" srcOrd="2" destOrd="0" presId="urn:microsoft.com/office/officeart/2009/3/layout/HorizontalOrganizationChart"/>
    <dgm:cxn modelId="{C9914F5F-B1A7-407A-BD0B-26C9D7C86A43}" type="presParOf" srcId="{D897512D-1C5A-425D-A4CA-5FD67064C449}" destId="{641A1FB8-31EA-4400-89B2-B84BF9876F04}" srcOrd="1" destOrd="0" presId="urn:microsoft.com/office/officeart/2009/3/layout/HorizontalOrganizationChart"/>
    <dgm:cxn modelId="{8C730B17-944A-40E2-A857-9AB4D4FBF338}" type="presParOf" srcId="{641A1FB8-31EA-4400-89B2-B84BF9876F04}" destId="{2215DDD9-40C1-42ED-8100-DA0EF97500ED}" srcOrd="0" destOrd="0" presId="urn:microsoft.com/office/officeart/2009/3/layout/HorizontalOrganizationChart"/>
    <dgm:cxn modelId="{1E055392-1E68-4EF1-872E-FDF66A4F5091}" type="presParOf" srcId="{2215DDD9-40C1-42ED-8100-DA0EF97500ED}" destId="{C106FE37-78FC-4B91-AB63-2959EC40C132}" srcOrd="0" destOrd="0" presId="urn:microsoft.com/office/officeart/2009/3/layout/HorizontalOrganizationChart"/>
    <dgm:cxn modelId="{74F9441B-2BA2-40C0-B11B-10D0BD159C86}" type="presParOf" srcId="{2215DDD9-40C1-42ED-8100-DA0EF97500ED}" destId="{860FFD42-6009-4881-8CA6-B334DA9A8178}" srcOrd="1" destOrd="0" presId="urn:microsoft.com/office/officeart/2009/3/layout/HorizontalOrganizationChart"/>
    <dgm:cxn modelId="{DADB8360-5320-43D2-9CE5-C362C8C204F3}" type="presParOf" srcId="{641A1FB8-31EA-4400-89B2-B84BF9876F04}" destId="{5CBC7A73-AC05-40F3-8431-9DC6AC782F09}" srcOrd="1" destOrd="0" presId="urn:microsoft.com/office/officeart/2009/3/layout/HorizontalOrganizationChart"/>
    <dgm:cxn modelId="{D1394890-D47B-4B21-9105-4CF12D06E2B6}" type="presParOf" srcId="{641A1FB8-31EA-4400-89B2-B84BF9876F04}" destId="{BCE2ECC5-6A04-4163-8498-00F0736A2636}"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7.xml><?xml version="1.0" encoding="utf-8"?>
<dgm:dataModel xmlns:dgm="http://schemas.openxmlformats.org/drawingml/2006/diagram" xmlns:a="http://schemas.openxmlformats.org/drawingml/2006/main">
  <dgm:ptLst>
    <dgm:pt modelId="{E718AF86-2E83-4750-9E5F-A0B0CA96829B}" type="doc">
      <dgm:prSet loTypeId="urn:microsoft.com/office/officeart/2005/8/layout/default" loCatId="list" qsTypeId="urn:microsoft.com/office/officeart/2005/8/quickstyle/simple1" qsCatId="simple" csTypeId="urn:microsoft.com/office/officeart/2005/8/colors/accent2_2" csCatId="accent2" phldr="1"/>
      <dgm:spPr/>
      <dgm:t>
        <a:bodyPr/>
        <a:lstStyle/>
        <a:p>
          <a:endParaRPr lang="en-US"/>
        </a:p>
      </dgm:t>
    </dgm:pt>
    <dgm:pt modelId="{FED36DBC-8D88-4B75-BECA-EC9BFD87DE2B}" type="parTrans" cxnId="{46D557B5-69A3-4775-8CEA-FEF69609B1EB}">
      <dgm:prSet/>
      <dgm:spPr/>
      <dgm:t>
        <a:bodyPr/>
        <a:lstStyle/>
        <a:p>
          <a:endParaRPr lang="en-US"/>
        </a:p>
      </dgm:t>
    </dgm:pt>
    <dgm:pt modelId="{75D565E3-8336-48C4-90E3-0C9DA6803E1C}">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3200" b="0" i="0" strike="noStrike" cap="none" spc="0" baseline="0" dirty="0">
              <a:solidFill>
                <a:srgbClr val="FFFFFF"/>
              </a:solidFill>
              <a:effectLst/>
              <a:latin typeface="Calibri"/>
              <a:ea typeface="Calibri"/>
              <a:cs typeface="Calibri"/>
            </a:rPr>
            <a:t>Vorgesetzte</a:t>
          </a:r>
          <a:endParaRPr lang="en-US" sz="3200" dirty="0"/>
        </a:p>
      </dgm:t>
    </dgm:pt>
    <dgm:pt modelId="{7336C954-45A6-45C0-A688-FBC0481332A0}" type="sibTrans" cxnId="{46D557B5-69A3-4775-8CEA-FEF69609B1EB}">
      <dgm:prSet/>
      <dgm:spPr/>
      <dgm:t>
        <a:bodyPr/>
        <a:lstStyle/>
        <a:p>
          <a:endParaRPr lang="en-US"/>
        </a:p>
      </dgm:t>
    </dgm:pt>
    <dgm:pt modelId="{D6E3759B-9562-418F-A884-F46CCF2E4539}" type="parTrans" cxnId="{FCE6E2E9-5056-45D6-8E0B-3A689931E0B6}">
      <dgm:prSet/>
      <dgm:spPr/>
      <dgm:t>
        <a:bodyPr/>
        <a:lstStyle/>
        <a:p>
          <a:endParaRPr lang="en-US"/>
        </a:p>
      </dgm:t>
    </dgm:pt>
    <dgm:pt modelId="{1B8D85C5-F2D0-42D0-A7C7-595DDFBB0B94}">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3600" b="0" i="0" strike="noStrike" cap="none" spc="0" baseline="0">
              <a:solidFill>
                <a:srgbClr val="FFFFFF"/>
              </a:solidFill>
              <a:effectLst/>
              <a:latin typeface="Calibri"/>
              <a:ea typeface="Calibri"/>
              <a:cs typeface="Calibri"/>
            </a:rPr>
            <a:t>Manager</a:t>
          </a:r>
          <a:endParaRPr lang="en-US"/>
        </a:p>
      </dgm:t>
    </dgm:pt>
    <dgm:pt modelId="{B41704BC-3399-4B98-8CBB-1C82DC8134AC}" type="sibTrans" cxnId="{FCE6E2E9-5056-45D6-8E0B-3A689931E0B6}">
      <dgm:prSet/>
      <dgm:spPr/>
      <dgm:t>
        <a:bodyPr/>
        <a:lstStyle/>
        <a:p>
          <a:endParaRPr lang="en-US"/>
        </a:p>
      </dgm:t>
    </dgm:pt>
    <dgm:pt modelId="{03350E07-5B48-4E7C-B3A5-440AC1FB5680}" type="parTrans" cxnId="{EE823202-9AE5-46AD-881E-2376DEFC35C9}">
      <dgm:prSet/>
      <dgm:spPr/>
      <dgm:t>
        <a:bodyPr/>
        <a:lstStyle/>
        <a:p>
          <a:endParaRPr lang="en-US"/>
        </a:p>
      </dgm:t>
    </dgm:pt>
    <dgm:pt modelId="{877A83AA-B99B-4BD8-8DEC-185197AADBB9}">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3600" b="0" i="0" strike="noStrike" cap="none" spc="0" baseline="0">
              <a:solidFill>
                <a:srgbClr val="FFFFFF"/>
              </a:solidFill>
              <a:effectLst/>
              <a:latin typeface="Calibri"/>
              <a:ea typeface="Calibri"/>
              <a:cs typeface="Calibri"/>
            </a:rPr>
            <a:t>Kollegen</a:t>
          </a:r>
          <a:endParaRPr lang="en-US"/>
        </a:p>
      </dgm:t>
    </dgm:pt>
    <dgm:pt modelId="{50A5F10B-C1FB-4521-826D-3C55CB839AE2}" type="sibTrans" cxnId="{EE823202-9AE5-46AD-881E-2376DEFC35C9}">
      <dgm:prSet/>
      <dgm:spPr/>
      <dgm:t>
        <a:bodyPr/>
        <a:lstStyle/>
        <a:p>
          <a:endParaRPr lang="en-US"/>
        </a:p>
      </dgm:t>
    </dgm:pt>
    <dgm:pt modelId="{5F02574E-EF70-4789-8A4E-C11738F6861A}" type="parTrans" cxnId="{728F387C-7583-4C23-819F-5010300B9C85}">
      <dgm:prSet/>
      <dgm:spPr/>
      <dgm:t>
        <a:bodyPr/>
        <a:lstStyle/>
        <a:p>
          <a:endParaRPr lang="en-US"/>
        </a:p>
      </dgm:t>
    </dgm:pt>
    <dgm:pt modelId="{2E3CAA22-643F-4AB0-A1DA-20BE5D846CFB}">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3600" b="0" i="0" strike="noStrike" cap="none" spc="0" baseline="0">
              <a:solidFill>
                <a:srgbClr val="FFFFFF"/>
              </a:solidFill>
              <a:effectLst/>
              <a:latin typeface="Calibri"/>
              <a:ea typeface="Calibri"/>
              <a:cs typeface="Calibri"/>
            </a:rPr>
            <a:t>Lieferanten</a:t>
          </a:r>
          <a:endParaRPr lang="en-US"/>
        </a:p>
      </dgm:t>
    </dgm:pt>
    <dgm:pt modelId="{7225BED6-EFE7-401D-8A32-EBCC85760333}" type="sibTrans" cxnId="{728F387C-7583-4C23-819F-5010300B9C85}">
      <dgm:prSet/>
      <dgm:spPr/>
      <dgm:t>
        <a:bodyPr/>
        <a:lstStyle/>
        <a:p>
          <a:endParaRPr lang="en-US"/>
        </a:p>
      </dgm:t>
    </dgm:pt>
    <dgm:pt modelId="{48AC272F-9CFB-4033-B69D-73E2EE0B7EC5}" type="parTrans" cxnId="{287DEB09-122D-4B94-BA02-17B89D784D90}">
      <dgm:prSet/>
      <dgm:spPr/>
      <dgm:t>
        <a:bodyPr/>
        <a:lstStyle/>
        <a:p>
          <a:endParaRPr lang="en-US"/>
        </a:p>
      </dgm:t>
    </dgm:pt>
    <dgm:pt modelId="{C7781311-E474-47F5-902B-0A2B3D8FF44A}">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3600" b="0" i="0" strike="noStrike" cap="none" spc="0" baseline="0">
              <a:solidFill>
                <a:srgbClr val="FFFFFF"/>
              </a:solidFill>
              <a:effectLst/>
              <a:latin typeface="Calibri"/>
              <a:ea typeface="Calibri"/>
              <a:cs typeface="Calibri"/>
            </a:rPr>
            <a:t>Kunden</a:t>
          </a:r>
          <a:endParaRPr lang="en-US"/>
        </a:p>
      </dgm:t>
    </dgm:pt>
    <dgm:pt modelId="{D871D23F-569C-4FD5-AFBA-DD194F9C33FF}" type="sibTrans" cxnId="{287DEB09-122D-4B94-BA02-17B89D784D90}">
      <dgm:prSet/>
      <dgm:spPr/>
      <dgm:t>
        <a:bodyPr/>
        <a:lstStyle/>
        <a:p>
          <a:endParaRPr lang="en-US"/>
        </a:p>
      </dgm:t>
    </dgm:pt>
    <dgm:pt modelId="{56D5179D-1EFA-4854-87D9-1B62387F6DC6}" type="parTrans" cxnId="{C802ADA6-E58C-465A-B329-CB6C11EEECA3}">
      <dgm:prSet/>
      <dgm:spPr/>
      <dgm:t>
        <a:bodyPr/>
        <a:lstStyle/>
        <a:p>
          <a:endParaRPr lang="en-US"/>
        </a:p>
      </dgm:t>
    </dgm:pt>
    <dgm:pt modelId="{4FB763E3-8A34-4199-805A-904204A5B9E8}">
      <dgm:prSet custT="1"/>
      <dgm:spPr>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2800" b="0" i="0" strike="noStrike" cap="none" spc="0" baseline="0" dirty="0">
              <a:solidFill>
                <a:srgbClr val="FFFFFF"/>
              </a:solidFill>
              <a:effectLst/>
              <a:latin typeface="Calibri"/>
              <a:ea typeface="Calibri"/>
              <a:cs typeface="Calibri"/>
            </a:rPr>
            <a:t>Auftragnehmer</a:t>
          </a:r>
          <a:endParaRPr lang="en-US" sz="2800" dirty="0"/>
        </a:p>
      </dgm:t>
    </dgm:pt>
    <dgm:pt modelId="{5D5D3307-FD81-45B6-A978-0B64D363C3ED}" type="sibTrans" cxnId="{C802ADA6-E58C-465A-B329-CB6C11EEECA3}">
      <dgm:prSet/>
      <dgm:spPr/>
      <dgm:t>
        <a:bodyPr/>
        <a:lstStyle/>
        <a:p>
          <a:endParaRPr lang="en-US"/>
        </a:p>
      </dgm:t>
    </dgm:pt>
    <dgm:pt modelId="{7B6D35E6-14FC-460A-BFCD-18027F77E34D}" type="pres">
      <dgm:prSet presAssocID="{E718AF86-2E83-4750-9E5F-A0B0CA96829B}" presName="diagram" presStyleCnt="0">
        <dgm:presLayoutVars>
          <dgm:dir/>
          <dgm:resizeHandles val="exact"/>
        </dgm:presLayoutVars>
      </dgm:prSet>
      <dgm:spPr/>
    </dgm:pt>
    <dgm:pt modelId="{BF61FA31-D264-43EA-875B-A2B7B8E7012B}" type="pres">
      <dgm:prSet presAssocID="{75D565E3-8336-48C4-90E3-0C9DA6803E1C}" presName="node" presStyleLbl="node1" presStyleIdx="0" presStyleCnt="6">
        <dgm:presLayoutVars>
          <dgm:bulletEnabled val="1"/>
        </dgm:presLayoutVars>
      </dgm:prSet>
      <dgm:spPr/>
    </dgm:pt>
    <dgm:pt modelId="{3A618FCC-9271-4F94-9C7F-8E0070B1CDA1}" type="pres">
      <dgm:prSet presAssocID="{7336C954-45A6-45C0-A688-FBC0481332A0}" presName="sibTrans" presStyleCnt="0"/>
      <dgm:spPr/>
    </dgm:pt>
    <dgm:pt modelId="{4573CE03-A660-44F7-B0C8-0BF6532B8A05}" type="pres">
      <dgm:prSet presAssocID="{1B8D85C5-F2D0-42D0-A7C7-595DDFBB0B94}" presName="node" presStyleLbl="node1" presStyleIdx="1" presStyleCnt="6">
        <dgm:presLayoutVars>
          <dgm:bulletEnabled val="1"/>
        </dgm:presLayoutVars>
      </dgm:prSet>
      <dgm:spPr/>
    </dgm:pt>
    <dgm:pt modelId="{C2F10033-87C7-49C0-930D-446DCB2C20C3}" type="pres">
      <dgm:prSet presAssocID="{B41704BC-3399-4B98-8CBB-1C82DC8134AC}" presName="sibTrans" presStyleCnt="0"/>
      <dgm:spPr/>
    </dgm:pt>
    <dgm:pt modelId="{7D292785-63DD-40E5-BF38-3BDE0B2D1FB7}" type="pres">
      <dgm:prSet presAssocID="{877A83AA-B99B-4BD8-8DEC-185197AADBB9}" presName="node" presStyleLbl="node1" presStyleIdx="2" presStyleCnt="6">
        <dgm:presLayoutVars>
          <dgm:bulletEnabled val="1"/>
        </dgm:presLayoutVars>
      </dgm:prSet>
      <dgm:spPr/>
    </dgm:pt>
    <dgm:pt modelId="{9833DF5B-68D5-41F6-A523-9A5678394E58}" type="pres">
      <dgm:prSet presAssocID="{50A5F10B-C1FB-4521-826D-3C55CB839AE2}" presName="sibTrans" presStyleCnt="0"/>
      <dgm:spPr/>
    </dgm:pt>
    <dgm:pt modelId="{8E5F5894-71D7-4AD0-AB3F-825397E67428}" type="pres">
      <dgm:prSet presAssocID="{2E3CAA22-643F-4AB0-A1DA-20BE5D846CFB}" presName="node" presStyleLbl="node1" presStyleIdx="3" presStyleCnt="6">
        <dgm:presLayoutVars>
          <dgm:bulletEnabled val="1"/>
        </dgm:presLayoutVars>
      </dgm:prSet>
      <dgm:spPr/>
    </dgm:pt>
    <dgm:pt modelId="{8ABC1043-C70B-4802-972F-E92D28931A33}" type="pres">
      <dgm:prSet presAssocID="{7225BED6-EFE7-401D-8A32-EBCC85760333}" presName="sibTrans" presStyleCnt="0"/>
      <dgm:spPr/>
    </dgm:pt>
    <dgm:pt modelId="{41438514-9CE3-4267-8433-2A509C733917}" type="pres">
      <dgm:prSet presAssocID="{C7781311-E474-47F5-902B-0A2B3D8FF44A}" presName="node" presStyleLbl="node1" presStyleIdx="4" presStyleCnt="6">
        <dgm:presLayoutVars>
          <dgm:bulletEnabled val="1"/>
        </dgm:presLayoutVars>
      </dgm:prSet>
      <dgm:spPr/>
    </dgm:pt>
    <dgm:pt modelId="{64659242-38B6-43C3-988D-CA767345F9FA}" type="pres">
      <dgm:prSet presAssocID="{D871D23F-569C-4FD5-AFBA-DD194F9C33FF}" presName="sibTrans" presStyleCnt="0"/>
      <dgm:spPr/>
    </dgm:pt>
    <dgm:pt modelId="{CD7FF0B3-454C-4F5A-9542-9E88E96578B7}" type="pres">
      <dgm:prSet presAssocID="{4FB763E3-8A34-4199-805A-904204A5B9E8}" presName="node" presStyleLbl="node1" presStyleIdx="5" presStyleCnt="6">
        <dgm:presLayoutVars>
          <dgm:bulletEnabled val="1"/>
        </dgm:presLayoutVars>
      </dgm:prSet>
      <dgm:spPr/>
    </dgm:pt>
  </dgm:ptLst>
  <dgm:cxnLst>
    <dgm:cxn modelId="{EE823202-9AE5-46AD-881E-2376DEFC35C9}" srcId="{E718AF86-2E83-4750-9E5F-A0B0CA96829B}" destId="{877A83AA-B99B-4BD8-8DEC-185197AADBB9}" srcOrd="2" destOrd="0" parTransId="{03350E07-5B48-4E7C-B3A5-440AC1FB5680}" sibTransId="{50A5F10B-C1FB-4521-826D-3C55CB839AE2}"/>
    <dgm:cxn modelId="{287DEB09-122D-4B94-BA02-17B89D784D90}" srcId="{E718AF86-2E83-4750-9E5F-A0B0CA96829B}" destId="{C7781311-E474-47F5-902B-0A2B3D8FF44A}" srcOrd="4" destOrd="0" parTransId="{48AC272F-9CFB-4033-B69D-73E2EE0B7EC5}" sibTransId="{D871D23F-569C-4FD5-AFBA-DD194F9C33FF}"/>
    <dgm:cxn modelId="{A2AB2D38-8B33-41EE-83A8-9144F8EA137A}" type="presOf" srcId="{C7781311-E474-47F5-902B-0A2B3D8FF44A}" destId="{41438514-9CE3-4267-8433-2A509C733917}" srcOrd="0" destOrd="0" presId="urn:microsoft.com/office/officeart/2005/8/layout/default"/>
    <dgm:cxn modelId="{BB08106B-4340-4B69-A52C-F9C854AF225D}" type="presOf" srcId="{2E3CAA22-643F-4AB0-A1DA-20BE5D846CFB}" destId="{8E5F5894-71D7-4AD0-AB3F-825397E67428}" srcOrd="0" destOrd="0" presId="urn:microsoft.com/office/officeart/2005/8/layout/default"/>
    <dgm:cxn modelId="{60446B75-CE90-4479-9301-CA33772F2EA3}" type="presOf" srcId="{E718AF86-2E83-4750-9E5F-A0B0CA96829B}" destId="{7B6D35E6-14FC-460A-BFCD-18027F77E34D}" srcOrd="0" destOrd="0" presId="urn:microsoft.com/office/officeart/2005/8/layout/default"/>
    <dgm:cxn modelId="{E1835177-C499-4223-BCD8-E0E420D528A3}" type="presOf" srcId="{75D565E3-8336-48C4-90E3-0C9DA6803E1C}" destId="{BF61FA31-D264-43EA-875B-A2B7B8E7012B}" srcOrd="0" destOrd="0" presId="urn:microsoft.com/office/officeart/2005/8/layout/default"/>
    <dgm:cxn modelId="{F6A1AA7B-C228-4A56-A094-84925DD61C7F}" type="presOf" srcId="{877A83AA-B99B-4BD8-8DEC-185197AADBB9}" destId="{7D292785-63DD-40E5-BF38-3BDE0B2D1FB7}" srcOrd="0" destOrd="0" presId="urn:microsoft.com/office/officeart/2005/8/layout/default"/>
    <dgm:cxn modelId="{728F387C-7583-4C23-819F-5010300B9C85}" srcId="{E718AF86-2E83-4750-9E5F-A0B0CA96829B}" destId="{2E3CAA22-643F-4AB0-A1DA-20BE5D846CFB}" srcOrd="3" destOrd="0" parTransId="{5F02574E-EF70-4789-8A4E-C11738F6861A}" sibTransId="{7225BED6-EFE7-401D-8A32-EBCC85760333}"/>
    <dgm:cxn modelId="{C802ADA6-E58C-465A-B329-CB6C11EEECA3}" srcId="{E718AF86-2E83-4750-9E5F-A0B0CA96829B}" destId="{4FB763E3-8A34-4199-805A-904204A5B9E8}" srcOrd="5" destOrd="0" parTransId="{56D5179D-1EFA-4854-87D9-1B62387F6DC6}" sibTransId="{5D5D3307-FD81-45B6-A978-0B64D363C3ED}"/>
    <dgm:cxn modelId="{46D557B5-69A3-4775-8CEA-FEF69609B1EB}" srcId="{E718AF86-2E83-4750-9E5F-A0B0CA96829B}" destId="{75D565E3-8336-48C4-90E3-0C9DA6803E1C}" srcOrd="0" destOrd="0" parTransId="{FED36DBC-8D88-4B75-BECA-EC9BFD87DE2B}" sibTransId="{7336C954-45A6-45C0-A688-FBC0481332A0}"/>
    <dgm:cxn modelId="{A2BA45C6-0BC6-4F46-A54F-A035A8C11684}" type="presOf" srcId="{1B8D85C5-F2D0-42D0-A7C7-595DDFBB0B94}" destId="{4573CE03-A660-44F7-B0C8-0BF6532B8A05}" srcOrd="0" destOrd="0" presId="urn:microsoft.com/office/officeart/2005/8/layout/default"/>
    <dgm:cxn modelId="{06503ACD-4DEA-4606-93A0-F70E7563FEFB}" type="presOf" srcId="{4FB763E3-8A34-4199-805A-904204A5B9E8}" destId="{CD7FF0B3-454C-4F5A-9542-9E88E96578B7}" srcOrd="0" destOrd="0" presId="urn:microsoft.com/office/officeart/2005/8/layout/default"/>
    <dgm:cxn modelId="{FCE6E2E9-5056-45D6-8E0B-3A689931E0B6}" srcId="{E718AF86-2E83-4750-9E5F-A0B0CA96829B}" destId="{1B8D85C5-F2D0-42D0-A7C7-595DDFBB0B94}" srcOrd="1" destOrd="0" parTransId="{D6E3759B-9562-418F-A884-F46CCF2E4539}" sibTransId="{B41704BC-3399-4B98-8CBB-1C82DC8134AC}"/>
    <dgm:cxn modelId="{AF215CBC-CA00-495C-9602-8E0D008DD491}" type="presParOf" srcId="{7B6D35E6-14FC-460A-BFCD-18027F77E34D}" destId="{BF61FA31-D264-43EA-875B-A2B7B8E7012B}" srcOrd="0" destOrd="0" presId="urn:microsoft.com/office/officeart/2005/8/layout/default"/>
    <dgm:cxn modelId="{D9198EE9-C9B6-4CE2-A1E7-4F134ED1D5E0}" type="presParOf" srcId="{7B6D35E6-14FC-460A-BFCD-18027F77E34D}" destId="{3A618FCC-9271-4F94-9C7F-8E0070B1CDA1}" srcOrd="1" destOrd="0" presId="urn:microsoft.com/office/officeart/2005/8/layout/default"/>
    <dgm:cxn modelId="{1EF32341-386D-4438-AB26-5E0F3F6CFF33}" type="presParOf" srcId="{7B6D35E6-14FC-460A-BFCD-18027F77E34D}" destId="{4573CE03-A660-44F7-B0C8-0BF6532B8A05}" srcOrd="2" destOrd="0" presId="urn:microsoft.com/office/officeart/2005/8/layout/default"/>
    <dgm:cxn modelId="{DA3FFDF4-EC6C-4D2F-AF6D-339A25CC1646}" type="presParOf" srcId="{7B6D35E6-14FC-460A-BFCD-18027F77E34D}" destId="{C2F10033-87C7-49C0-930D-446DCB2C20C3}" srcOrd="3" destOrd="0" presId="urn:microsoft.com/office/officeart/2005/8/layout/default"/>
    <dgm:cxn modelId="{6152ACAD-E8E1-4917-95A3-3E1CC95FB61B}" type="presParOf" srcId="{7B6D35E6-14FC-460A-BFCD-18027F77E34D}" destId="{7D292785-63DD-40E5-BF38-3BDE0B2D1FB7}" srcOrd="4" destOrd="0" presId="urn:microsoft.com/office/officeart/2005/8/layout/default"/>
    <dgm:cxn modelId="{A44B1170-E406-4715-BC0C-5258FBA9AFAA}" type="presParOf" srcId="{7B6D35E6-14FC-460A-BFCD-18027F77E34D}" destId="{9833DF5B-68D5-41F6-A523-9A5678394E58}" srcOrd="5" destOrd="0" presId="urn:microsoft.com/office/officeart/2005/8/layout/default"/>
    <dgm:cxn modelId="{DF10A156-0114-4395-AFA3-F6E4BFBD9D52}" type="presParOf" srcId="{7B6D35E6-14FC-460A-BFCD-18027F77E34D}" destId="{8E5F5894-71D7-4AD0-AB3F-825397E67428}" srcOrd="6" destOrd="0" presId="urn:microsoft.com/office/officeart/2005/8/layout/default"/>
    <dgm:cxn modelId="{07DD8603-BBF8-49AA-A230-FC4FC186BC2E}" type="presParOf" srcId="{7B6D35E6-14FC-460A-BFCD-18027F77E34D}" destId="{8ABC1043-C70B-4802-972F-E92D28931A33}" srcOrd="7" destOrd="0" presId="urn:microsoft.com/office/officeart/2005/8/layout/default"/>
    <dgm:cxn modelId="{D5249B13-B7FC-4DD2-8337-EBEB6D05A63A}" type="presParOf" srcId="{7B6D35E6-14FC-460A-BFCD-18027F77E34D}" destId="{41438514-9CE3-4267-8433-2A509C733917}" srcOrd="8" destOrd="0" presId="urn:microsoft.com/office/officeart/2005/8/layout/default"/>
    <dgm:cxn modelId="{1E1B69B1-9621-4392-A847-41EFE59BD2CA}" type="presParOf" srcId="{7B6D35E6-14FC-460A-BFCD-18027F77E34D}" destId="{64659242-38B6-43C3-988D-CA767345F9FA}" srcOrd="9" destOrd="0" presId="urn:microsoft.com/office/officeart/2005/8/layout/default"/>
    <dgm:cxn modelId="{A2DC106C-8223-4810-9C4C-42CF30F5306A}" type="presParOf" srcId="{7B6D35E6-14FC-460A-BFCD-18027F77E34D}" destId="{CD7FF0B3-454C-4F5A-9542-9E88E96578B7}"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8.xml><?xml version="1.0" encoding="utf-8"?>
<dgm:dataModel xmlns:dgm="http://schemas.openxmlformats.org/drawingml/2006/diagram" xmlns:a="http://schemas.openxmlformats.org/drawingml/2006/main">
  <dgm:ptLst>
    <dgm:pt modelId="{0C05A7D9-4B26-493B-AD17-CF6F474D2605}"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953147A8-9B94-4655-872A-C321ED63F359}" type="parTrans" cxnId="{303440DA-A9FB-456A-BE8F-71B278A6141E}">
      <dgm:prSet/>
      <dgm:spPr/>
      <dgm:t>
        <a:bodyPr/>
        <a:lstStyle/>
        <a:p>
          <a:endParaRPr lang="en-US"/>
        </a:p>
      </dgm:t>
    </dgm:pt>
    <dgm:pt modelId="{D1140553-0F2C-4E08-A6D7-E96957698816}">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600" b="0" i="0" strike="noStrike" cap="none" spc="0" baseline="0">
              <a:solidFill>
                <a:srgbClr val="FFFFFF"/>
              </a:solidFill>
              <a:effectLst/>
              <a:latin typeface="Calibri"/>
              <a:ea typeface="Calibri"/>
              <a:cs typeface="Calibri"/>
            </a:rPr>
            <a:t>Visuelles Verhalten </a:t>
          </a:r>
        </a:p>
      </dgm:t>
    </dgm:pt>
    <dgm:pt modelId="{6EE0849C-BC16-44AE-B4F4-4E3885699EAF}" type="parTrans" cxnId="{CDCC5B3D-F79A-45DD-A007-BAD15145A91F}">
      <dgm:prSet/>
      <dgm:spPr/>
      <dgm:t>
        <a:bodyPr/>
        <a:lstStyle/>
        <a:p>
          <a:endParaRPr lang="en-US"/>
        </a:p>
      </dgm:t>
    </dgm:pt>
    <dgm:pt modelId="{7AD47BAE-9CB4-432C-9257-ACCCDE15C002}">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600" b="0" i="0" strike="noStrike" cap="none" spc="0" baseline="0">
              <a:solidFill>
                <a:srgbClr val="FFFFFF"/>
              </a:solidFill>
              <a:effectLst/>
              <a:latin typeface="Calibri"/>
              <a:ea typeface="Calibri"/>
              <a:cs typeface="Calibri"/>
            </a:rPr>
            <a:t>Leerstellen, sexuelle Gesten machen</a:t>
          </a:r>
        </a:p>
      </dgm:t>
    </dgm:pt>
    <dgm:pt modelId="{B2C67109-4C19-4CF1-A362-DDEA36B3260E}" type="sibTrans" cxnId="{CDCC5B3D-F79A-45DD-A007-BAD15145A91F}">
      <dgm:prSet/>
      <dgm:spPr/>
      <dgm:t>
        <a:bodyPr/>
        <a:lstStyle/>
        <a:p>
          <a:endParaRPr lang="en-US"/>
        </a:p>
      </dgm:t>
    </dgm:pt>
    <dgm:pt modelId="{B0B1209E-36A1-4E04-98E3-7E1EE65124D5}" type="parTrans" cxnId="{7AD82E7A-41BB-4163-98C6-3269D249F922}">
      <dgm:prSet/>
      <dgm:spPr/>
      <dgm:t>
        <a:bodyPr/>
        <a:lstStyle/>
        <a:p>
          <a:endParaRPr lang="en-US"/>
        </a:p>
      </dgm:t>
    </dgm:pt>
    <dgm:pt modelId="{424F1DCF-E6C8-484E-BBFE-3FD4CF2C4D50}">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600" b="0" i="0" strike="noStrike" cap="none" spc="0" baseline="0">
              <a:solidFill>
                <a:srgbClr val="FFFFFF"/>
              </a:solidFill>
              <a:effectLst/>
              <a:latin typeface="Calibri"/>
              <a:ea typeface="Calibri"/>
              <a:cs typeface="Calibri"/>
            </a:rPr>
            <a:t>Anzeige von suggestiven Objekten, Bildern, Cartoons oder Postern in Druckform oder digital</a:t>
          </a:r>
        </a:p>
      </dgm:t>
    </dgm:pt>
    <dgm:pt modelId="{5519A9E2-41C9-4E39-8BED-4C67155F3D79}" type="sibTrans" cxnId="{7AD82E7A-41BB-4163-98C6-3269D249F922}">
      <dgm:prSet/>
      <dgm:spPr/>
      <dgm:t>
        <a:bodyPr/>
        <a:lstStyle/>
        <a:p>
          <a:endParaRPr lang="en-US"/>
        </a:p>
      </dgm:t>
    </dgm:pt>
    <dgm:pt modelId="{7317062B-F1CA-45AF-ACEC-CF8A4966C4E7}" type="sibTrans" cxnId="{303440DA-A9FB-456A-BE8F-71B278A6141E}">
      <dgm:prSet/>
      <dgm:spPr/>
      <dgm:t>
        <a:bodyPr/>
        <a:lstStyle/>
        <a:p>
          <a:endParaRPr lang="en-US"/>
        </a:p>
      </dgm:t>
    </dgm:pt>
    <dgm:pt modelId="{01509BDB-23A7-4E1A-8EE1-9B1BA783FFD5}" type="parTrans" cxnId="{AB9E6FB0-5CE6-4E1E-8A58-ED6459932746}">
      <dgm:prSet/>
      <dgm:spPr/>
      <dgm:t>
        <a:bodyPr/>
        <a:lstStyle/>
        <a:p>
          <a:endParaRPr lang="en-US"/>
        </a:p>
      </dgm:t>
    </dgm:pt>
    <dgm:pt modelId="{03ADAECB-047A-46F4-9200-A29E2B53805A}">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600" b="0" i="0" strike="noStrike" cap="none" spc="0" baseline="0">
              <a:solidFill>
                <a:srgbClr val="FFFFFF"/>
              </a:solidFill>
              <a:effectLst/>
              <a:latin typeface="Calibri"/>
              <a:ea typeface="Calibri"/>
              <a:cs typeface="Calibri"/>
            </a:rPr>
            <a:t>Körperliches Verhalten</a:t>
          </a:r>
        </a:p>
      </dgm:t>
    </dgm:pt>
    <dgm:pt modelId="{7D4D8014-F1DB-411D-A99F-000FBF67510A}" type="parTrans" cxnId="{5C92DA9B-FB34-4359-8397-BD6AD4779D8E}">
      <dgm:prSet/>
      <dgm:spPr/>
      <dgm:t>
        <a:bodyPr/>
        <a:lstStyle/>
        <a:p>
          <a:endParaRPr lang="en-US"/>
        </a:p>
      </dgm:t>
    </dgm:pt>
    <dgm:pt modelId="{700502CC-08DF-4A38-B06C-7BAE4529CD04}">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600" b="0" i="0" strike="noStrike" cap="none" spc="0" baseline="0">
              <a:solidFill>
                <a:srgbClr val="FFFFFF"/>
              </a:solidFill>
              <a:effectLst/>
              <a:latin typeface="Calibri"/>
              <a:ea typeface="Calibri"/>
              <a:cs typeface="Calibri"/>
            </a:rPr>
            <a:t>Berühren, Umarmen oder Massagen</a:t>
          </a:r>
        </a:p>
      </dgm:t>
    </dgm:pt>
    <dgm:pt modelId="{3AA66E2B-C7F4-4738-B0C6-89117339686D}" type="sibTrans" cxnId="{5C92DA9B-FB34-4359-8397-BD6AD4779D8E}">
      <dgm:prSet/>
      <dgm:spPr/>
      <dgm:t>
        <a:bodyPr/>
        <a:lstStyle/>
        <a:p>
          <a:endParaRPr lang="en-US"/>
        </a:p>
      </dgm:t>
    </dgm:pt>
    <dgm:pt modelId="{9B816D66-BCA5-4EB0-97D2-6A6E68BCB7D8}" type="parTrans" cxnId="{F5FD81AB-DB58-4EEC-9263-A3BF9D82B0C3}">
      <dgm:prSet/>
      <dgm:spPr/>
      <dgm:t>
        <a:bodyPr/>
        <a:lstStyle/>
        <a:p>
          <a:endParaRPr lang="en-US"/>
        </a:p>
      </dgm:t>
    </dgm:pt>
    <dgm:pt modelId="{AAABA161-B816-48FE-9FF6-403447916EF6}">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600" b="0" i="0" strike="noStrike" cap="none" spc="0" baseline="0">
              <a:solidFill>
                <a:srgbClr val="FFFFFF"/>
              </a:solidFill>
              <a:effectLst/>
              <a:latin typeface="Calibri"/>
              <a:ea typeface="Calibri"/>
              <a:cs typeface="Calibri"/>
            </a:rPr>
            <a:t>Angriff</a:t>
          </a:r>
        </a:p>
      </dgm:t>
    </dgm:pt>
    <dgm:pt modelId="{CAF8154D-B656-4A60-911E-7D35FB8AFDAF}" type="sibTrans" cxnId="{F5FD81AB-DB58-4EEC-9263-A3BF9D82B0C3}">
      <dgm:prSet/>
      <dgm:spPr/>
      <dgm:t>
        <a:bodyPr/>
        <a:lstStyle/>
        <a:p>
          <a:endParaRPr lang="en-US"/>
        </a:p>
      </dgm:t>
    </dgm:pt>
    <dgm:pt modelId="{7136BF63-0206-4684-85AB-24B66306CC42}" type="parTrans" cxnId="{550A1B66-5113-400F-8BCB-A41FDFCEAA60}">
      <dgm:prSet/>
      <dgm:spPr/>
      <dgm:t>
        <a:bodyPr/>
        <a:lstStyle/>
        <a:p>
          <a:endParaRPr lang="en-US"/>
        </a:p>
      </dgm:t>
    </dgm:pt>
    <dgm:pt modelId="{6145CC65-493A-459B-864E-BE0291E3B59B}">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600" b="0" i="0" strike="noStrike" cap="none" spc="0" baseline="0">
              <a:solidFill>
                <a:srgbClr val="FFFFFF"/>
              </a:solidFill>
              <a:effectLst/>
              <a:latin typeface="Calibri"/>
              <a:ea typeface="Calibri"/>
              <a:cs typeface="Calibri"/>
            </a:rPr>
            <a:t>Behinderung oder Blockierung der Bewegung </a:t>
          </a:r>
        </a:p>
      </dgm:t>
    </dgm:pt>
    <dgm:pt modelId="{72680BB3-04FA-41D0-987B-EFEBFE9E86BA}" type="sibTrans" cxnId="{550A1B66-5113-400F-8BCB-A41FDFCEAA60}">
      <dgm:prSet/>
      <dgm:spPr/>
      <dgm:t>
        <a:bodyPr/>
        <a:lstStyle/>
        <a:p>
          <a:endParaRPr lang="en-US"/>
        </a:p>
      </dgm:t>
    </dgm:pt>
    <dgm:pt modelId="{CDCDB1D1-BFA5-4418-9B98-B885AF47B3A5}" type="sibTrans" cxnId="{AB9E6FB0-5CE6-4E1E-8A58-ED6459932746}">
      <dgm:prSet/>
      <dgm:spPr/>
      <dgm:t>
        <a:bodyPr/>
        <a:lstStyle/>
        <a:p>
          <a:endParaRPr lang="en-US"/>
        </a:p>
      </dgm:t>
    </dgm:pt>
    <dgm:pt modelId="{998E800D-ECE1-4951-9960-7BDD393DF063}" type="parTrans" cxnId="{DC1DB199-A263-48A4-B2E6-00E8BAF368C6}">
      <dgm:prSet/>
      <dgm:spPr/>
      <dgm:t>
        <a:bodyPr/>
        <a:lstStyle/>
        <a:p>
          <a:endParaRPr lang="en-US"/>
        </a:p>
      </dgm:t>
    </dgm:pt>
    <dgm:pt modelId="{E826FA2F-8DF9-4F84-A929-4F0DA138E063}">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600" b="0" i="0" strike="noStrike" cap="none" spc="0" baseline="0">
              <a:solidFill>
                <a:srgbClr val="FFFFFF"/>
              </a:solidFill>
              <a:effectLst/>
              <a:latin typeface="Calibri"/>
              <a:ea typeface="Calibri"/>
              <a:cs typeface="Calibri"/>
            </a:rPr>
            <a:t>Verbales Verhalten </a:t>
          </a:r>
        </a:p>
      </dgm:t>
    </dgm:pt>
    <dgm:pt modelId="{E1A01D08-2A2A-4288-9A6B-4683DB5B102E}" type="parTrans" cxnId="{EC6DD3E9-BED3-4F95-9B4C-6F395EF346AD}">
      <dgm:prSet/>
      <dgm:spPr/>
      <dgm:t>
        <a:bodyPr/>
        <a:lstStyle/>
        <a:p>
          <a:endParaRPr lang="en-US"/>
        </a:p>
      </dgm:t>
    </dgm:pt>
    <dgm:pt modelId="{9BBEF1E3-0CAD-46F1-A1A7-FDD1D2E9A001}">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600" b="0" i="0" strike="noStrike" cap="none" spc="0" baseline="0">
              <a:solidFill>
                <a:srgbClr val="FFFFFF"/>
              </a:solidFill>
              <a:effectLst/>
              <a:latin typeface="Calibri"/>
              <a:ea typeface="Calibri"/>
              <a:cs typeface="Calibri"/>
            </a:rPr>
            <a:t>Abfällige Kommentare, Verunglimpfungen oder Witze persönlich oder durch SMS, E-Mails oder Nachrichten machen oder verwenden</a:t>
          </a:r>
        </a:p>
      </dgm:t>
    </dgm:pt>
    <dgm:pt modelId="{2F4CA838-9D64-4D04-B928-E4E177D2EFFC}" type="sibTrans" cxnId="{EC6DD3E9-BED3-4F95-9B4C-6F395EF346AD}">
      <dgm:prSet/>
      <dgm:spPr/>
      <dgm:t>
        <a:bodyPr/>
        <a:lstStyle/>
        <a:p>
          <a:endParaRPr lang="en-US"/>
        </a:p>
      </dgm:t>
    </dgm:pt>
    <dgm:pt modelId="{8014555A-0CB7-4C34-ACAE-613E5E6AC076}" type="parTrans" cxnId="{E553F448-5A65-4554-AB0A-8C5BAD744B2E}">
      <dgm:prSet/>
      <dgm:spPr/>
      <dgm:t>
        <a:bodyPr/>
        <a:lstStyle/>
        <a:p>
          <a:endParaRPr lang="en-US"/>
        </a:p>
      </dgm:t>
    </dgm:pt>
    <dgm:pt modelId="{D83BCC78-D56C-40B2-A4E9-119D217BB84C}">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600" b="0" i="0" strike="noStrike" cap="none" spc="0" baseline="0">
              <a:solidFill>
                <a:srgbClr val="FFFFFF"/>
              </a:solidFill>
              <a:effectLst/>
              <a:latin typeface="Calibri"/>
              <a:ea typeface="Calibri"/>
              <a:cs typeface="Calibri"/>
            </a:rPr>
            <a:t>Verbale sexuelle Annäherungen oder Vorschläge</a:t>
          </a:r>
        </a:p>
      </dgm:t>
    </dgm:pt>
    <dgm:pt modelId="{42890CFE-C418-459F-93F0-D743808833AF}" type="sibTrans" cxnId="{E553F448-5A65-4554-AB0A-8C5BAD744B2E}">
      <dgm:prSet/>
      <dgm:spPr/>
      <dgm:t>
        <a:bodyPr/>
        <a:lstStyle/>
        <a:p>
          <a:endParaRPr lang="en-US"/>
        </a:p>
      </dgm:t>
    </dgm:pt>
    <dgm:pt modelId="{D17DCF28-A149-41C4-8F81-35A18B015B57}" type="parTrans" cxnId="{B8D1F79A-4494-4A3B-A40C-CDD91F0E47BC}">
      <dgm:prSet/>
      <dgm:spPr/>
      <dgm:t>
        <a:bodyPr/>
        <a:lstStyle/>
        <a:p>
          <a:endParaRPr lang="en-US"/>
        </a:p>
      </dgm:t>
    </dgm:pt>
    <dgm:pt modelId="{C15B46CF-86A6-42D1-A495-80BDE3CACF54}">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600" b="0" i="0" strike="noStrike" cap="none" spc="0" baseline="0">
              <a:solidFill>
                <a:srgbClr val="FFFFFF"/>
              </a:solidFill>
              <a:effectLst/>
              <a:latin typeface="Calibri"/>
              <a:ea typeface="Calibri"/>
              <a:cs typeface="Calibri"/>
            </a:rPr>
            <a:t>Verbaler Missbrauch sexueller Natur</a:t>
          </a:r>
        </a:p>
      </dgm:t>
    </dgm:pt>
    <dgm:pt modelId="{04EE481C-7495-40CE-950B-C4EB510C5DC1}" type="sibTrans" cxnId="{B8D1F79A-4494-4A3B-A40C-CDD91F0E47BC}">
      <dgm:prSet/>
      <dgm:spPr/>
      <dgm:t>
        <a:bodyPr/>
        <a:lstStyle/>
        <a:p>
          <a:endParaRPr lang="en-US"/>
        </a:p>
      </dgm:t>
    </dgm:pt>
    <dgm:pt modelId="{1C4B42A5-C5B7-4CE0-B56D-8D3A89CD9A8B}" type="parTrans" cxnId="{D1CFAD1F-B305-43A2-B400-8493B223D8B3}">
      <dgm:prSet/>
      <dgm:spPr/>
      <dgm:t>
        <a:bodyPr/>
        <a:lstStyle/>
        <a:p>
          <a:endParaRPr lang="en-US"/>
        </a:p>
      </dgm:t>
    </dgm:pt>
    <dgm:pt modelId="{9318EE55-3B8D-40BB-B3DD-40119884117B}">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600" b="0" i="0" strike="noStrike" cap="none" spc="0" baseline="0">
              <a:solidFill>
                <a:srgbClr val="FFFFFF"/>
              </a:solidFill>
              <a:effectLst/>
              <a:latin typeface="Calibri"/>
              <a:ea typeface="Calibri"/>
              <a:cs typeface="Calibri"/>
            </a:rPr>
            <a:t>Grafische verbale Kommentare über den Körper einer Person</a:t>
          </a:r>
        </a:p>
      </dgm:t>
    </dgm:pt>
    <dgm:pt modelId="{56FEB4AC-12D6-48A4-92FD-11F459ACEE29}" type="sibTrans" cxnId="{D1CFAD1F-B305-43A2-B400-8493B223D8B3}">
      <dgm:prSet/>
      <dgm:spPr/>
      <dgm:t>
        <a:bodyPr/>
        <a:lstStyle/>
        <a:p>
          <a:endParaRPr lang="en-US"/>
        </a:p>
      </dgm:t>
    </dgm:pt>
    <dgm:pt modelId="{544ED2F1-447B-4D28-B908-B8AA40785393}" type="parTrans" cxnId="{FBC77BBC-1D30-4780-BBC5-7C2F47DDE6B2}">
      <dgm:prSet/>
      <dgm:spPr/>
      <dgm:t>
        <a:bodyPr/>
        <a:lstStyle/>
        <a:p>
          <a:endParaRPr lang="en-US"/>
        </a:p>
      </dgm:t>
    </dgm:pt>
    <dgm:pt modelId="{70B2DF44-34FC-4788-9FB5-6B334345058D}">
      <dgm:prSet phldrT="[Text]" custT="1"/>
      <dgm:spPr>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dgm:spPr>
      <dgm:t>
        <a:bodyPr/>
        <a:lstStyle/>
        <a:p>
          <a:r>
            <a:rPr lang="de" sz="1600" b="0" i="0" strike="noStrike" cap="none" spc="0" baseline="0" dirty="0">
              <a:solidFill>
                <a:srgbClr val="FFFFFF"/>
              </a:solidFill>
              <a:effectLst/>
              <a:latin typeface="Calibri"/>
              <a:ea typeface="Calibri"/>
              <a:cs typeface="Calibri"/>
            </a:rPr>
            <a:t>Sexuell erniedrigende Wörter, die verwendet werden, um eine Person, suggestive oder obszöne Briefe, Notizen oder Einladungen zu beschreiben</a:t>
          </a:r>
        </a:p>
      </dgm:t>
    </dgm:pt>
    <dgm:pt modelId="{FBB0510E-F978-4063-8359-F3B0AA0F5613}" type="sibTrans" cxnId="{FBC77BBC-1D30-4780-BBC5-7C2F47DDE6B2}">
      <dgm:prSet/>
      <dgm:spPr/>
      <dgm:t>
        <a:bodyPr/>
        <a:lstStyle/>
        <a:p>
          <a:endParaRPr lang="en-US"/>
        </a:p>
      </dgm:t>
    </dgm:pt>
    <dgm:pt modelId="{ADE3DF73-07D5-4C55-842D-35766D1190D0}" type="sibTrans" cxnId="{DC1DB199-A263-48A4-B2E6-00E8BAF368C6}">
      <dgm:prSet/>
      <dgm:spPr/>
      <dgm:t>
        <a:bodyPr/>
        <a:lstStyle/>
        <a:p>
          <a:endParaRPr lang="en-US"/>
        </a:p>
      </dgm:t>
    </dgm:pt>
    <dgm:pt modelId="{4C92CBA6-378A-4AC4-8B81-EBCFC25998B5}" type="pres">
      <dgm:prSet presAssocID="{0C05A7D9-4B26-493B-AD17-CF6F474D2605}" presName="diagram" presStyleCnt="0">
        <dgm:presLayoutVars>
          <dgm:dir/>
          <dgm:resizeHandles val="exact"/>
        </dgm:presLayoutVars>
      </dgm:prSet>
      <dgm:spPr/>
    </dgm:pt>
    <dgm:pt modelId="{EA286E4F-7206-4C05-AD55-DC212A1A5DC4}" type="pres">
      <dgm:prSet presAssocID="{D1140553-0F2C-4E08-A6D7-E96957698816}" presName="node" presStyleLbl="node1" presStyleIdx="0" presStyleCnt="3" custScaleY="72244">
        <dgm:presLayoutVars>
          <dgm:bulletEnabled val="1"/>
        </dgm:presLayoutVars>
      </dgm:prSet>
      <dgm:spPr/>
    </dgm:pt>
    <dgm:pt modelId="{F80C4730-0173-4C1A-9B71-4C9F48B5C63F}" type="pres">
      <dgm:prSet presAssocID="{7317062B-F1CA-45AF-ACEC-CF8A4966C4E7}" presName="sibTrans" presStyleCnt="0"/>
      <dgm:spPr/>
    </dgm:pt>
    <dgm:pt modelId="{988B99C9-8C3B-43DD-B195-DE7699CD3887}" type="pres">
      <dgm:prSet presAssocID="{03ADAECB-047A-46F4-9200-A29E2B53805A}" presName="node" presStyleLbl="node1" presStyleIdx="1" presStyleCnt="3" custScaleY="72244">
        <dgm:presLayoutVars>
          <dgm:bulletEnabled val="1"/>
        </dgm:presLayoutVars>
      </dgm:prSet>
      <dgm:spPr/>
    </dgm:pt>
    <dgm:pt modelId="{8757694E-B58D-42BB-9481-BBB0585FB9A2}" type="pres">
      <dgm:prSet presAssocID="{CDCDB1D1-BFA5-4418-9B98-B885AF47B3A5}" presName="sibTrans" presStyleCnt="0"/>
      <dgm:spPr/>
    </dgm:pt>
    <dgm:pt modelId="{66092D74-200C-439C-BC45-FB0319721481}" type="pres">
      <dgm:prSet presAssocID="{E826FA2F-8DF9-4F84-A929-4F0DA138E063}" presName="node" presStyleLbl="node1" presStyleIdx="2" presStyleCnt="3" custScaleX="181097" custScaleY="106337">
        <dgm:presLayoutVars>
          <dgm:bulletEnabled val="1"/>
        </dgm:presLayoutVars>
      </dgm:prSet>
      <dgm:spPr/>
    </dgm:pt>
  </dgm:ptLst>
  <dgm:cxnLst>
    <dgm:cxn modelId="{D0124501-9D32-4995-876B-59D41E7C0084}" type="presOf" srcId="{D83BCC78-D56C-40B2-A4E9-119D217BB84C}" destId="{66092D74-200C-439C-BC45-FB0319721481}" srcOrd="0" destOrd="2" presId="urn:microsoft.com/office/officeart/2005/8/layout/default"/>
    <dgm:cxn modelId="{42D1DF07-ED0C-4273-8FCE-CC02035005EF}" type="presOf" srcId="{0C05A7D9-4B26-493B-AD17-CF6F474D2605}" destId="{4C92CBA6-378A-4AC4-8B81-EBCFC25998B5}" srcOrd="0" destOrd="0" presId="urn:microsoft.com/office/officeart/2005/8/layout/default"/>
    <dgm:cxn modelId="{D650E01D-5B57-4C1B-B905-6FAD76B9178E}" type="presOf" srcId="{03ADAECB-047A-46F4-9200-A29E2B53805A}" destId="{988B99C9-8C3B-43DD-B195-DE7699CD3887}" srcOrd="0" destOrd="0" presId="urn:microsoft.com/office/officeart/2005/8/layout/default"/>
    <dgm:cxn modelId="{D1CFAD1F-B305-43A2-B400-8493B223D8B3}" srcId="{E826FA2F-8DF9-4F84-A929-4F0DA138E063}" destId="{9318EE55-3B8D-40BB-B3DD-40119884117B}" srcOrd="3" destOrd="0" parTransId="{1C4B42A5-C5B7-4CE0-B56D-8D3A89CD9A8B}" sibTransId="{56FEB4AC-12D6-48A4-92FD-11F459ACEE29}"/>
    <dgm:cxn modelId="{058CAD2E-2335-4363-8CDC-E28F8EDC2861}" type="presOf" srcId="{E826FA2F-8DF9-4F84-A929-4F0DA138E063}" destId="{66092D74-200C-439C-BC45-FB0319721481}" srcOrd="0" destOrd="0" presId="urn:microsoft.com/office/officeart/2005/8/layout/default"/>
    <dgm:cxn modelId="{CDCC5B3D-F79A-45DD-A007-BAD15145A91F}" srcId="{D1140553-0F2C-4E08-A6D7-E96957698816}" destId="{7AD47BAE-9CB4-432C-9257-ACCCDE15C002}" srcOrd="0" destOrd="0" parTransId="{6EE0849C-BC16-44AE-B4F4-4E3885699EAF}" sibTransId="{B2C67109-4C19-4CF1-A362-DDEA36B3260E}"/>
    <dgm:cxn modelId="{550A1B66-5113-400F-8BCB-A41FDFCEAA60}" srcId="{03ADAECB-047A-46F4-9200-A29E2B53805A}" destId="{6145CC65-493A-459B-864E-BE0291E3B59B}" srcOrd="2" destOrd="0" parTransId="{7136BF63-0206-4684-85AB-24B66306CC42}" sibTransId="{72680BB3-04FA-41D0-987B-EFEBFE9E86BA}"/>
    <dgm:cxn modelId="{1072D546-C15C-48EA-950F-5ABB505C2C75}" type="presOf" srcId="{9BBEF1E3-0CAD-46F1-A1A7-FDD1D2E9A001}" destId="{66092D74-200C-439C-BC45-FB0319721481}" srcOrd="0" destOrd="1" presId="urn:microsoft.com/office/officeart/2005/8/layout/default"/>
    <dgm:cxn modelId="{E553F448-5A65-4554-AB0A-8C5BAD744B2E}" srcId="{E826FA2F-8DF9-4F84-A929-4F0DA138E063}" destId="{D83BCC78-D56C-40B2-A4E9-119D217BB84C}" srcOrd="1" destOrd="0" parTransId="{8014555A-0CB7-4C34-ACAE-613E5E6AC076}" sibTransId="{42890CFE-C418-459F-93F0-D743808833AF}"/>
    <dgm:cxn modelId="{32581570-52CA-4367-8272-8B197EE6968A}" type="presOf" srcId="{424F1DCF-E6C8-484E-BBFE-3FD4CF2C4D50}" destId="{EA286E4F-7206-4C05-AD55-DC212A1A5DC4}" srcOrd="0" destOrd="2" presId="urn:microsoft.com/office/officeart/2005/8/layout/default"/>
    <dgm:cxn modelId="{7AD82E7A-41BB-4163-98C6-3269D249F922}" srcId="{D1140553-0F2C-4E08-A6D7-E96957698816}" destId="{424F1DCF-E6C8-484E-BBFE-3FD4CF2C4D50}" srcOrd="1" destOrd="0" parTransId="{B0B1209E-36A1-4E04-98E3-7E1EE65124D5}" sibTransId="{5519A9E2-41C9-4E39-8BED-4C67155F3D79}"/>
    <dgm:cxn modelId="{7F57605A-E69F-458D-8246-B36B3C0ABA02}" type="presOf" srcId="{7AD47BAE-9CB4-432C-9257-ACCCDE15C002}" destId="{EA286E4F-7206-4C05-AD55-DC212A1A5DC4}" srcOrd="0" destOrd="1" presId="urn:microsoft.com/office/officeart/2005/8/layout/default"/>
    <dgm:cxn modelId="{25571199-9842-4F09-BA92-5115A65AB5DE}" type="presOf" srcId="{9318EE55-3B8D-40BB-B3DD-40119884117B}" destId="{66092D74-200C-439C-BC45-FB0319721481}" srcOrd="0" destOrd="4" presId="urn:microsoft.com/office/officeart/2005/8/layout/default"/>
    <dgm:cxn modelId="{DC1DB199-A263-48A4-B2E6-00E8BAF368C6}" srcId="{0C05A7D9-4B26-493B-AD17-CF6F474D2605}" destId="{E826FA2F-8DF9-4F84-A929-4F0DA138E063}" srcOrd="2" destOrd="0" parTransId="{998E800D-ECE1-4951-9960-7BDD393DF063}" sibTransId="{ADE3DF73-07D5-4C55-842D-35766D1190D0}"/>
    <dgm:cxn modelId="{B8D1F79A-4494-4A3B-A40C-CDD91F0E47BC}" srcId="{E826FA2F-8DF9-4F84-A929-4F0DA138E063}" destId="{C15B46CF-86A6-42D1-A495-80BDE3CACF54}" srcOrd="2" destOrd="0" parTransId="{D17DCF28-A149-41C4-8F81-35A18B015B57}" sibTransId="{04EE481C-7495-40CE-950B-C4EB510C5DC1}"/>
    <dgm:cxn modelId="{5C92DA9B-FB34-4359-8397-BD6AD4779D8E}" srcId="{03ADAECB-047A-46F4-9200-A29E2B53805A}" destId="{700502CC-08DF-4A38-B06C-7BAE4529CD04}" srcOrd="0" destOrd="0" parTransId="{7D4D8014-F1DB-411D-A99F-000FBF67510A}" sibTransId="{3AA66E2B-C7F4-4738-B0C6-89117339686D}"/>
    <dgm:cxn modelId="{FE6C74A8-638F-49EE-A2F5-61AB8C3236B0}" type="presOf" srcId="{70B2DF44-34FC-4788-9FB5-6B334345058D}" destId="{66092D74-200C-439C-BC45-FB0319721481}" srcOrd="0" destOrd="5" presId="urn:microsoft.com/office/officeart/2005/8/layout/default"/>
    <dgm:cxn modelId="{F5FD81AB-DB58-4EEC-9263-A3BF9D82B0C3}" srcId="{03ADAECB-047A-46F4-9200-A29E2B53805A}" destId="{AAABA161-B816-48FE-9FF6-403447916EF6}" srcOrd="1" destOrd="0" parTransId="{9B816D66-BCA5-4EB0-97D2-6A6E68BCB7D8}" sibTransId="{CAF8154D-B656-4A60-911E-7D35FB8AFDAF}"/>
    <dgm:cxn modelId="{88CBB3AB-29D4-4773-B7BC-8FBB3678C1CC}" type="presOf" srcId="{D1140553-0F2C-4E08-A6D7-E96957698816}" destId="{EA286E4F-7206-4C05-AD55-DC212A1A5DC4}" srcOrd="0" destOrd="0" presId="urn:microsoft.com/office/officeart/2005/8/layout/default"/>
    <dgm:cxn modelId="{AB9E6FB0-5CE6-4E1E-8A58-ED6459932746}" srcId="{0C05A7D9-4B26-493B-AD17-CF6F474D2605}" destId="{03ADAECB-047A-46F4-9200-A29E2B53805A}" srcOrd="1" destOrd="0" parTransId="{01509BDB-23A7-4E1A-8EE1-9B1BA783FFD5}" sibTransId="{CDCDB1D1-BFA5-4418-9B98-B885AF47B3A5}"/>
    <dgm:cxn modelId="{1DBEC4B7-E12E-430D-A60E-6177CA468DD2}" type="presOf" srcId="{AAABA161-B816-48FE-9FF6-403447916EF6}" destId="{988B99C9-8C3B-43DD-B195-DE7699CD3887}" srcOrd="0" destOrd="2" presId="urn:microsoft.com/office/officeart/2005/8/layout/default"/>
    <dgm:cxn modelId="{FBC77BBC-1D30-4780-BBC5-7C2F47DDE6B2}" srcId="{E826FA2F-8DF9-4F84-A929-4F0DA138E063}" destId="{70B2DF44-34FC-4788-9FB5-6B334345058D}" srcOrd="4" destOrd="0" parTransId="{544ED2F1-447B-4D28-B908-B8AA40785393}" sibTransId="{FBB0510E-F978-4063-8359-F3B0AA0F5613}"/>
    <dgm:cxn modelId="{80778ACB-F621-4411-986F-F53E49222F4F}" type="presOf" srcId="{6145CC65-493A-459B-864E-BE0291E3B59B}" destId="{988B99C9-8C3B-43DD-B195-DE7699CD3887}" srcOrd="0" destOrd="3" presId="urn:microsoft.com/office/officeart/2005/8/layout/default"/>
    <dgm:cxn modelId="{F9CF47D3-E9E9-4119-AA20-BCCCFC8554AB}" type="presOf" srcId="{C15B46CF-86A6-42D1-A495-80BDE3CACF54}" destId="{66092D74-200C-439C-BC45-FB0319721481}" srcOrd="0" destOrd="3" presId="urn:microsoft.com/office/officeart/2005/8/layout/default"/>
    <dgm:cxn modelId="{303440DA-A9FB-456A-BE8F-71B278A6141E}" srcId="{0C05A7D9-4B26-493B-AD17-CF6F474D2605}" destId="{D1140553-0F2C-4E08-A6D7-E96957698816}" srcOrd="0" destOrd="0" parTransId="{953147A8-9B94-4655-872A-C321ED63F359}" sibTransId="{7317062B-F1CA-45AF-ACEC-CF8A4966C4E7}"/>
    <dgm:cxn modelId="{D6FD83DD-6AC4-42B8-9439-8CF44827C9E9}" type="presOf" srcId="{700502CC-08DF-4A38-B06C-7BAE4529CD04}" destId="{988B99C9-8C3B-43DD-B195-DE7699CD3887}" srcOrd="0" destOrd="1" presId="urn:microsoft.com/office/officeart/2005/8/layout/default"/>
    <dgm:cxn modelId="{EC6DD3E9-BED3-4F95-9B4C-6F395EF346AD}" srcId="{E826FA2F-8DF9-4F84-A929-4F0DA138E063}" destId="{9BBEF1E3-0CAD-46F1-A1A7-FDD1D2E9A001}" srcOrd="0" destOrd="0" parTransId="{E1A01D08-2A2A-4288-9A6B-4683DB5B102E}" sibTransId="{2F4CA838-9D64-4D04-B928-E4E177D2EFFC}"/>
    <dgm:cxn modelId="{C4E117A8-20FE-42D8-B075-F7A6BE2EF3DF}" type="presParOf" srcId="{4C92CBA6-378A-4AC4-8B81-EBCFC25998B5}" destId="{EA286E4F-7206-4C05-AD55-DC212A1A5DC4}" srcOrd="0" destOrd="0" presId="urn:microsoft.com/office/officeart/2005/8/layout/default"/>
    <dgm:cxn modelId="{5FF0D811-143B-4EDA-8A19-400261C1E755}" type="presParOf" srcId="{4C92CBA6-378A-4AC4-8B81-EBCFC25998B5}" destId="{F80C4730-0173-4C1A-9B71-4C9F48B5C63F}" srcOrd="1" destOrd="0" presId="urn:microsoft.com/office/officeart/2005/8/layout/default"/>
    <dgm:cxn modelId="{BB9859A9-D788-4E8D-A9DA-E1826579321E}" type="presParOf" srcId="{4C92CBA6-378A-4AC4-8B81-EBCFC25998B5}" destId="{988B99C9-8C3B-43DD-B195-DE7699CD3887}" srcOrd="2" destOrd="0" presId="urn:microsoft.com/office/officeart/2005/8/layout/default"/>
    <dgm:cxn modelId="{10CD9AA4-11DC-44E1-B13C-29B317567E23}" type="presParOf" srcId="{4C92CBA6-378A-4AC4-8B81-EBCFC25998B5}" destId="{8757694E-B58D-42BB-9481-BBB0585FB9A2}" srcOrd="3" destOrd="0" presId="urn:microsoft.com/office/officeart/2005/8/layout/default"/>
    <dgm:cxn modelId="{ABB36743-F596-4364-B21A-69B371F95DBC}" type="presParOf" srcId="{4C92CBA6-378A-4AC4-8B81-EBCFC25998B5}" destId="{66092D74-200C-439C-BC45-FB0319721481}"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ata9.xml><?xml version="1.0" encoding="utf-8"?>
<dgm:dataModel xmlns:dgm="http://schemas.openxmlformats.org/drawingml/2006/diagram" xmlns:a="http://schemas.openxmlformats.org/drawingml/2006/main">
  <dgm:ptLst>
    <dgm:pt modelId="{3F388ED1-67EA-4C52-A4EF-B33800D3CCFC}" type="doc">
      <dgm:prSet loTypeId="urn:microsoft.com/office/officeart/2018/2/layout/IconLabelList" loCatId="icon" qsTypeId="urn:microsoft.com/office/officeart/2005/8/quickstyle/simple1" qsCatId="simple" csTypeId="urn:microsoft.com/office/officeart/2005/8/colors/accent2_2" csCatId="accent2" phldr="1"/>
      <dgm:spPr/>
      <dgm:t>
        <a:bodyPr/>
        <a:lstStyle/>
        <a:p>
          <a:endParaRPr lang="en-US"/>
        </a:p>
      </dgm:t>
    </dgm:pt>
    <dgm:pt modelId="{24C96D5D-A300-45E1-8162-B0468AA37BF6}" type="parTrans" cxnId="{5D86B4D2-3FAE-4110-90C4-EF26B590FDB3}">
      <dgm:prSet/>
      <dgm:spPr/>
      <dgm:t>
        <a:bodyPr/>
        <a:lstStyle/>
        <a:p>
          <a:endParaRPr lang="en-US"/>
        </a:p>
      </dgm:t>
    </dgm:pt>
    <dgm:pt modelId="{6765D87C-7CC0-41A0-B409-35F7C6713B98}">
      <dgm:prSet custT="1"/>
      <dgm:spPr>
        <a:noFill/>
        <a:ln>
          <a:noFill/>
        </a:ln>
      </dgm:spPr>
      <dgm:t>
        <a:bodyPr/>
        <a:lstStyle/>
        <a:p>
          <a:pPr>
            <a:lnSpc>
              <a:spcPct val="100000"/>
            </a:lnSpc>
          </a:pPr>
          <a:r>
            <a:rPr lang="de" sz="1700" b="0" i="0" strike="noStrike" cap="none" spc="0" baseline="0">
              <a:solidFill>
                <a:srgbClr val="000000"/>
              </a:solidFill>
              <a:effectLst/>
              <a:latin typeface="Calibri"/>
              <a:ea typeface="Calibri"/>
              <a:cs typeface="Calibri"/>
            </a:rPr>
            <a:t>Virtuelle Interaktionen</a:t>
          </a:r>
          <a:endParaRPr lang="en-US"/>
        </a:p>
      </dgm:t>
    </dgm:pt>
    <dgm:pt modelId="{4C6C75F7-926F-45DD-9F25-3A9FC1E581A0}" type="sibTrans" cxnId="{5D86B4D2-3FAE-4110-90C4-EF26B590FDB3}">
      <dgm:prSet/>
      <dgm:spPr/>
      <dgm:t>
        <a:bodyPr/>
        <a:lstStyle/>
        <a:p>
          <a:endParaRPr lang="en-US"/>
        </a:p>
      </dgm:t>
    </dgm:pt>
    <dgm:pt modelId="{40235C9D-7692-4244-97C2-DBBB4D4D2FF7}" type="parTrans" cxnId="{D83D4FFF-EA32-4A11-9D78-F058549A307A}">
      <dgm:prSet/>
      <dgm:spPr/>
      <dgm:t>
        <a:bodyPr/>
        <a:lstStyle/>
        <a:p>
          <a:endParaRPr lang="en-US"/>
        </a:p>
      </dgm:t>
    </dgm:pt>
    <dgm:pt modelId="{6231BEAF-70FD-4AEB-A281-E1C3F7CDE657}">
      <dgm:prSet custT="1"/>
      <dgm:spPr>
        <a:noFill/>
        <a:ln>
          <a:noFill/>
        </a:ln>
      </dgm:spPr>
      <dgm:t>
        <a:bodyPr/>
        <a:lstStyle/>
        <a:p>
          <a:pPr>
            <a:lnSpc>
              <a:spcPct val="100000"/>
            </a:lnSpc>
          </a:pPr>
          <a:r>
            <a:rPr lang="de" sz="1700" b="0" i="0" strike="noStrike" cap="none" spc="0" baseline="0">
              <a:solidFill>
                <a:srgbClr val="000000"/>
              </a:solidFill>
              <a:effectLst/>
              <a:latin typeface="Calibri"/>
              <a:ea typeface="Calibri"/>
              <a:cs typeface="Calibri"/>
            </a:rPr>
            <a:t>Feiertags-Partys</a:t>
          </a:r>
          <a:endParaRPr lang="en-US"/>
        </a:p>
      </dgm:t>
    </dgm:pt>
    <dgm:pt modelId="{D81DA91B-005B-4E14-AFDF-C8B3B3160C6B}" type="sibTrans" cxnId="{D83D4FFF-EA32-4A11-9D78-F058549A307A}">
      <dgm:prSet/>
      <dgm:spPr/>
      <dgm:t>
        <a:bodyPr/>
        <a:lstStyle/>
        <a:p>
          <a:endParaRPr lang="en-US"/>
        </a:p>
      </dgm:t>
    </dgm:pt>
    <dgm:pt modelId="{D5730169-979E-469C-ABDC-5BB87EC4A7D0}" type="parTrans" cxnId="{B56F9A3F-7108-40C1-9F67-7BBEA8E7089E}">
      <dgm:prSet/>
      <dgm:spPr/>
      <dgm:t>
        <a:bodyPr/>
        <a:lstStyle/>
        <a:p>
          <a:endParaRPr lang="en-US"/>
        </a:p>
      </dgm:t>
    </dgm:pt>
    <dgm:pt modelId="{27B0C93C-65AD-44AE-BD1D-79565B1AB665}">
      <dgm:prSet custT="1"/>
      <dgm:spPr>
        <a:noFill/>
        <a:ln>
          <a:noFill/>
        </a:ln>
      </dgm:spPr>
      <dgm:t>
        <a:bodyPr/>
        <a:lstStyle/>
        <a:p>
          <a:pPr>
            <a:lnSpc>
              <a:spcPct val="100000"/>
            </a:lnSpc>
          </a:pPr>
          <a:r>
            <a:rPr lang="de" sz="1700" b="0" i="0" strike="noStrike" cap="none" spc="0" baseline="0">
              <a:solidFill>
                <a:srgbClr val="000000"/>
              </a:solidFill>
              <a:effectLst/>
              <a:latin typeface="Calibri"/>
              <a:ea typeface="Calibri"/>
              <a:cs typeface="Calibri"/>
            </a:rPr>
            <a:t>Mahlzeiten</a:t>
          </a:r>
          <a:endParaRPr lang="en-US"/>
        </a:p>
      </dgm:t>
    </dgm:pt>
    <dgm:pt modelId="{FFF4DE70-A941-428D-AD23-FDC4AC01E7E7}" type="sibTrans" cxnId="{B56F9A3F-7108-40C1-9F67-7BBEA8E7089E}">
      <dgm:prSet/>
      <dgm:spPr/>
      <dgm:t>
        <a:bodyPr/>
        <a:lstStyle/>
        <a:p>
          <a:endParaRPr lang="en-US"/>
        </a:p>
      </dgm:t>
    </dgm:pt>
    <dgm:pt modelId="{6BBA676C-6505-47E3-B24D-7F015100F287}" type="parTrans" cxnId="{3AFD0659-3709-4E25-AAFF-40F0C706FAD2}">
      <dgm:prSet/>
      <dgm:spPr/>
      <dgm:t>
        <a:bodyPr/>
        <a:lstStyle/>
        <a:p>
          <a:endParaRPr lang="en-US"/>
        </a:p>
      </dgm:t>
    </dgm:pt>
    <dgm:pt modelId="{97980F97-FD8E-4850-8583-B12FD0A71EDD}">
      <dgm:prSet custT="1"/>
      <dgm:spPr>
        <a:noFill/>
        <a:ln>
          <a:noFill/>
        </a:ln>
      </dgm:spPr>
      <dgm:t>
        <a:bodyPr/>
        <a:lstStyle/>
        <a:p>
          <a:pPr>
            <a:lnSpc>
              <a:spcPct val="100000"/>
            </a:lnSpc>
          </a:pPr>
          <a:r>
            <a:rPr lang="de" sz="1700" b="0" i="0" strike="noStrike" cap="none" spc="0" baseline="0">
              <a:solidFill>
                <a:srgbClr val="000000"/>
              </a:solidFill>
              <a:effectLst/>
              <a:latin typeface="Calibri"/>
              <a:ea typeface="Calibri"/>
              <a:cs typeface="Calibri"/>
            </a:rPr>
            <a:t>Konferenzen und Messen</a:t>
          </a:r>
          <a:endParaRPr lang="en-US"/>
        </a:p>
      </dgm:t>
    </dgm:pt>
    <dgm:pt modelId="{07441A10-64D9-4416-B8F3-0938FE902A71}" type="sibTrans" cxnId="{3AFD0659-3709-4E25-AAFF-40F0C706FAD2}">
      <dgm:prSet/>
      <dgm:spPr/>
      <dgm:t>
        <a:bodyPr/>
        <a:lstStyle/>
        <a:p>
          <a:endParaRPr lang="en-US"/>
        </a:p>
      </dgm:t>
    </dgm:pt>
    <dgm:pt modelId="{DFC14506-07D7-4BAC-AF9E-C1E3B04DA640}" type="parTrans" cxnId="{51360FA9-365C-4DFD-B370-D1D12E457467}">
      <dgm:prSet/>
      <dgm:spPr/>
      <dgm:t>
        <a:bodyPr/>
        <a:lstStyle/>
        <a:p>
          <a:endParaRPr lang="en-US"/>
        </a:p>
      </dgm:t>
    </dgm:pt>
    <dgm:pt modelId="{349FD996-44AE-4207-8571-5AD7FE467F82}">
      <dgm:prSet custT="1"/>
      <dgm:spPr>
        <a:noFill/>
        <a:ln>
          <a:noFill/>
        </a:ln>
      </dgm:spPr>
      <dgm:t>
        <a:bodyPr/>
        <a:lstStyle/>
        <a:p>
          <a:pPr>
            <a:lnSpc>
              <a:spcPct val="100000"/>
            </a:lnSpc>
          </a:pPr>
          <a:r>
            <a:rPr lang="de" sz="1700" b="0" i="0" strike="noStrike" cap="none" spc="0" baseline="0">
              <a:solidFill>
                <a:srgbClr val="000000"/>
              </a:solidFill>
              <a:effectLst/>
              <a:latin typeface="Calibri"/>
              <a:ea typeface="Calibri"/>
              <a:cs typeface="Calibri"/>
            </a:rPr>
            <a:t>Geschäftsreisen</a:t>
          </a:r>
          <a:endParaRPr lang="en-US"/>
        </a:p>
      </dgm:t>
    </dgm:pt>
    <dgm:pt modelId="{429D8192-9264-4781-9A0B-4D8DF4D0516E}" type="sibTrans" cxnId="{51360FA9-365C-4DFD-B370-D1D12E457467}">
      <dgm:prSet/>
      <dgm:spPr/>
      <dgm:t>
        <a:bodyPr/>
        <a:lstStyle/>
        <a:p>
          <a:endParaRPr lang="en-US"/>
        </a:p>
      </dgm:t>
    </dgm:pt>
    <dgm:pt modelId="{5955E5F5-4EA7-43CB-959C-41431C3D878F}" type="parTrans" cxnId="{1E28B59D-3EBF-4856-8909-5D258E9B584B}">
      <dgm:prSet/>
      <dgm:spPr/>
      <dgm:t>
        <a:bodyPr/>
        <a:lstStyle/>
        <a:p>
          <a:endParaRPr lang="en-US"/>
        </a:p>
      </dgm:t>
    </dgm:pt>
    <dgm:pt modelId="{253C37E7-9A9E-4D16-802A-A24456CEAAE1}">
      <dgm:prSet custT="1"/>
      <dgm:spPr>
        <a:noFill/>
        <a:ln>
          <a:noFill/>
        </a:ln>
      </dgm:spPr>
      <dgm:t>
        <a:bodyPr/>
        <a:lstStyle/>
        <a:p>
          <a:pPr>
            <a:lnSpc>
              <a:spcPct val="100000"/>
            </a:lnSpc>
          </a:pPr>
          <a:r>
            <a:rPr lang="de" sz="1700" b="0" i="0" strike="noStrike" cap="none" spc="0" baseline="0">
              <a:solidFill>
                <a:srgbClr val="000000"/>
              </a:solidFill>
              <a:effectLst/>
              <a:latin typeface="Calibri"/>
              <a:ea typeface="Calibri"/>
              <a:cs typeface="Calibri"/>
            </a:rPr>
            <a:t>Telearbeiter und Heimarbeiter</a:t>
          </a:r>
          <a:endParaRPr lang="en-US"/>
        </a:p>
      </dgm:t>
    </dgm:pt>
    <dgm:pt modelId="{FE96DB33-C5B7-4DEB-82B2-0B1CE90A4D2B}" type="sibTrans" cxnId="{1E28B59D-3EBF-4856-8909-5D258E9B584B}">
      <dgm:prSet/>
      <dgm:spPr/>
      <dgm:t>
        <a:bodyPr/>
        <a:lstStyle/>
        <a:p>
          <a:endParaRPr lang="en-US"/>
        </a:p>
      </dgm:t>
    </dgm:pt>
    <dgm:pt modelId="{C3088A38-995F-4EC6-9F78-BAFAEAF4162C}" type="pres">
      <dgm:prSet presAssocID="{3F388ED1-67EA-4C52-A4EF-B33800D3CCFC}" presName="root" presStyleCnt="0">
        <dgm:presLayoutVars>
          <dgm:dir/>
          <dgm:resizeHandles val="exact"/>
        </dgm:presLayoutVars>
      </dgm:prSet>
      <dgm:spPr/>
    </dgm:pt>
    <dgm:pt modelId="{D05E4E73-9587-4A56-B8AA-2D6161B9C368}" type="pres">
      <dgm:prSet presAssocID="{6765D87C-7CC0-41A0-B409-35F7C6713B98}" presName="compNode" presStyleCnt="0"/>
      <dgm:spPr/>
    </dgm:pt>
    <dgm:pt modelId="{D99A27DE-1A9D-4CFC-BE2E-D6325D4C73B2}" type="pres">
      <dgm:prSet presAssocID="{6765D87C-7CC0-41A0-B409-35F7C6713B98}"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all center"/>
        </a:ext>
      </dgm:extLst>
    </dgm:pt>
    <dgm:pt modelId="{8667B507-D177-4EC0-A407-1521B796D904}" type="pres">
      <dgm:prSet presAssocID="{6765D87C-7CC0-41A0-B409-35F7C6713B98}" presName="spaceRect" presStyleCnt="0"/>
      <dgm:spPr/>
    </dgm:pt>
    <dgm:pt modelId="{79FCE879-EDA8-4A56-B9E8-3934B4682EB9}" type="pres">
      <dgm:prSet presAssocID="{6765D87C-7CC0-41A0-B409-35F7C6713B98}" presName="textRect" presStyleLbl="revTx" presStyleIdx="0" presStyleCnt="6">
        <dgm:presLayoutVars>
          <dgm:chMax val="1"/>
          <dgm:chPref val="1"/>
        </dgm:presLayoutVars>
      </dgm:prSet>
      <dgm:spPr/>
    </dgm:pt>
    <dgm:pt modelId="{6E752127-53E6-4E86-8330-1CDB423EB111}" type="pres">
      <dgm:prSet presAssocID="{4C6C75F7-926F-45DD-9F25-3A9FC1E581A0}" presName="sibTrans" presStyleCnt="0"/>
      <dgm:spPr/>
    </dgm:pt>
    <dgm:pt modelId="{4425BB72-67F0-47AF-9B82-CA0521543AF0}" type="pres">
      <dgm:prSet presAssocID="{6231BEAF-70FD-4AEB-A281-E1C3F7CDE657}" presName="compNode" presStyleCnt="0"/>
      <dgm:spPr/>
    </dgm:pt>
    <dgm:pt modelId="{B02E9D7E-F6E6-43AD-AAC9-B8DAE5007E4C}" type="pres">
      <dgm:prSet presAssocID="{6231BEAF-70FD-4AEB-A281-E1C3F7CDE657}"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resent"/>
        </a:ext>
      </dgm:extLst>
    </dgm:pt>
    <dgm:pt modelId="{47A43DDC-EDCF-451A-BC7A-3BA7127C9D9D}" type="pres">
      <dgm:prSet presAssocID="{6231BEAF-70FD-4AEB-A281-E1C3F7CDE657}" presName="spaceRect" presStyleCnt="0"/>
      <dgm:spPr/>
    </dgm:pt>
    <dgm:pt modelId="{C645D0FB-691D-4DD1-A770-EFD951B22D94}" type="pres">
      <dgm:prSet presAssocID="{6231BEAF-70FD-4AEB-A281-E1C3F7CDE657}" presName="textRect" presStyleLbl="revTx" presStyleIdx="1" presStyleCnt="6">
        <dgm:presLayoutVars>
          <dgm:chMax val="1"/>
          <dgm:chPref val="1"/>
        </dgm:presLayoutVars>
      </dgm:prSet>
      <dgm:spPr/>
    </dgm:pt>
    <dgm:pt modelId="{81722C06-5ED7-488E-B671-DA04CF4D005E}" type="pres">
      <dgm:prSet presAssocID="{D81DA91B-005B-4E14-AFDF-C8B3B3160C6B}" presName="sibTrans" presStyleCnt="0"/>
      <dgm:spPr/>
    </dgm:pt>
    <dgm:pt modelId="{492226F2-ECB5-4A9A-83B3-1D3658F8ECC7}" type="pres">
      <dgm:prSet presAssocID="{27B0C93C-65AD-44AE-BD1D-79565B1AB665}" presName="compNode" presStyleCnt="0"/>
      <dgm:spPr/>
    </dgm:pt>
    <dgm:pt modelId="{4E3EF8FC-D81C-4C6A-806C-EA4743F4BA77}" type="pres">
      <dgm:prSet presAssocID="{27B0C93C-65AD-44AE-BD1D-79565B1AB665}"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Fork and knife"/>
        </a:ext>
      </dgm:extLst>
    </dgm:pt>
    <dgm:pt modelId="{28B72FB2-153D-41A2-BD5A-3D59DFAA907C}" type="pres">
      <dgm:prSet presAssocID="{27B0C93C-65AD-44AE-BD1D-79565B1AB665}" presName="spaceRect" presStyleCnt="0"/>
      <dgm:spPr/>
    </dgm:pt>
    <dgm:pt modelId="{055E8662-2533-42D8-B4B8-521917D7DEAC}" type="pres">
      <dgm:prSet presAssocID="{27B0C93C-65AD-44AE-BD1D-79565B1AB665}" presName="textRect" presStyleLbl="revTx" presStyleIdx="2" presStyleCnt="6">
        <dgm:presLayoutVars>
          <dgm:chMax val="1"/>
          <dgm:chPref val="1"/>
        </dgm:presLayoutVars>
      </dgm:prSet>
      <dgm:spPr/>
    </dgm:pt>
    <dgm:pt modelId="{F24FB88B-8951-44CD-B4BE-2C3E45E0842B}" type="pres">
      <dgm:prSet presAssocID="{FFF4DE70-A941-428D-AD23-FDC4AC01E7E7}" presName="sibTrans" presStyleCnt="0"/>
      <dgm:spPr/>
    </dgm:pt>
    <dgm:pt modelId="{01DDB054-2946-4508-A072-B38236E42C83}" type="pres">
      <dgm:prSet presAssocID="{97980F97-FD8E-4850-8583-B12FD0A71EDD}" presName="compNode" presStyleCnt="0"/>
      <dgm:spPr/>
    </dgm:pt>
    <dgm:pt modelId="{57CC4C62-BD4B-45BD-83D8-0A29B71FFADD}" type="pres">
      <dgm:prSet presAssocID="{97980F97-FD8E-4850-8583-B12FD0A71EDD}" presName="iconRect" presStyleLbl="node1" presStyleIdx="3" presStyleCnt="6" custLinFactNeighborX="9279" custLinFactNeighborY="1136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Handshake"/>
        </a:ext>
      </dgm:extLst>
    </dgm:pt>
    <dgm:pt modelId="{86E0AAC4-6666-4366-86EF-3252C8C6CA8F}" type="pres">
      <dgm:prSet presAssocID="{97980F97-FD8E-4850-8583-B12FD0A71EDD}" presName="spaceRect" presStyleCnt="0"/>
      <dgm:spPr/>
    </dgm:pt>
    <dgm:pt modelId="{C247C313-91DA-4206-839D-B34E91EFC201}" type="pres">
      <dgm:prSet presAssocID="{97980F97-FD8E-4850-8583-B12FD0A71EDD}" presName="textRect" presStyleLbl="revTx" presStyleIdx="3" presStyleCnt="6" custLinFactNeighborX="3574" custLinFactNeighborY="-6017">
        <dgm:presLayoutVars>
          <dgm:chMax val="1"/>
          <dgm:chPref val="1"/>
        </dgm:presLayoutVars>
      </dgm:prSet>
      <dgm:spPr/>
    </dgm:pt>
    <dgm:pt modelId="{C71F7B83-B8BC-43D9-B497-AE47E4C88717}" type="pres">
      <dgm:prSet presAssocID="{07441A10-64D9-4416-B8F3-0938FE902A71}" presName="sibTrans" presStyleCnt="0"/>
      <dgm:spPr/>
    </dgm:pt>
    <dgm:pt modelId="{5695538A-F7DD-43EC-A3B0-2C1F8C3AF035}" type="pres">
      <dgm:prSet presAssocID="{349FD996-44AE-4207-8571-5AD7FE467F82}" presName="compNode" presStyleCnt="0"/>
      <dgm:spPr/>
    </dgm:pt>
    <dgm:pt modelId="{E86A0C04-E9B4-4015-A6A8-3FB1046B29CE}" type="pres">
      <dgm:prSet presAssocID="{349FD996-44AE-4207-8571-5AD7FE467F82}"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Airplane"/>
        </a:ext>
      </dgm:extLst>
    </dgm:pt>
    <dgm:pt modelId="{D2D79CFB-0CF4-4C0C-BEB0-EA6D92F581EA}" type="pres">
      <dgm:prSet presAssocID="{349FD996-44AE-4207-8571-5AD7FE467F82}" presName="spaceRect" presStyleCnt="0"/>
      <dgm:spPr/>
    </dgm:pt>
    <dgm:pt modelId="{4218699A-9F44-43C4-BACD-AFA07472911A}" type="pres">
      <dgm:prSet presAssocID="{349FD996-44AE-4207-8571-5AD7FE467F82}" presName="textRect" presStyleLbl="revTx" presStyleIdx="4" presStyleCnt="6">
        <dgm:presLayoutVars>
          <dgm:chMax val="1"/>
          <dgm:chPref val="1"/>
        </dgm:presLayoutVars>
      </dgm:prSet>
      <dgm:spPr/>
    </dgm:pt>
    <dgm:pt modelId="{0054ECED-2F46-4FA7-AC87-F6DA2C7F139B}" type="pres">
      <dgm:prSet presAssocID="{429D8192-9264-4781-9A0B-4D8DF4D0516E}" presName="sibTrans" presStyleCnt="0"/>
      <dgm:spPr/>
    </dgm:pt>
    <dgm:pt modelId="{07CB86F6-7387-449F-BCEA-84E42CC7E22F}" type="pres">
      <dgm:prSet presAssocID="{253C37E7-9A9E-4D16-802A-A24456CEAAE1}" presName="compNode" presStyleCnt="0"/>
      <dgm:spPr/>
    </dgm:pt>
    <dgm:pt modelId="{5421B5D6-8F0B-4CBE-B7B3-DBCDD202F370}" type="pres">
      <dgm:prSet presAssocID="{253C37E7-9A9E-4D16-802A-A24456CEAAE1}"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Monitor"/>
        </a:ext>
      </dgm:extLst>
    </dgm:pt>
    <dgm:pt modelId="{EBBF4D40-2EF1-4012-ABEC-74915D189F7E}" type="pres">
      <dgm:prSet presAssocID="{253C37E7-9A9E-4D16-802A-A24456CEAAE1}" presName="spaceRect" presStyleCnt="0"/>
      <dgm:spPr/>
    </dgm:pt>
    <dgm:pt modelId="{F8CD23AD-0F84-4328-BCA7-961CDC0F9CC6}" type="pres">
      <dgm:prSet presAssocID="{253C37E7-9A9E-4D16-802A-A24456CEAAE1}" presName="textRect" presStyleLbl="revTx" presStyleIdx="5" presStyleCnt="6">
        <dgm:presLayoutVars>
          <dgm:chMax val="1"/>
          <dgm:chPref val="1"/>
        </dgm:presLayoutVars>
      </dgm:prSet>
      <dgm:spPr/>
    </dgm:pt>
  </dgm:ptLst>
  <dgm:cxnLst>
    <dgm:cxn modelId="{F1670C09-0A1B-429B-A449-AE5C38D6E81E}" type="presOf" srcId="{97980F97-FD8E-4850-8583-B12FD0A71EDD}" destId="{C247C313-91DA-4206-839D-B34E91EFC201}" srcOrd="0" destOrd="0" presId="urn:microsoft.com/office/officeart/2018/2/layout/IconLabelList"/>
    <dgm:cxn modelId="{B56F9A3F-7108-40C1-9F67-7BBEA8E7089E}" srcId="{3F388ED1-67EA-4C52-A4EF-B33800D3CCFC}" destId="{27B0C93C-65AD-44AE-BD1D-79565B1AB665}" srcOrd="2" destOrd="0" parTransId="{D5730169-979E-469C-ABDC-5BB87EC4A7D0}" sibTransId="{FFF4DE70-A941-428D-AD23-FDC4AC01E7E7}"/>
    <dgm:cxn modelId="{BFD23840-C8AB-4A80-9E0D-D9E4D2C21451}" type="presOf" srcId="{349FD996-44AE-4207-8571-5AD7FE467F82}" destId="{4218699A-9F44-43C4-BACD-AFA07472911A}" srcOrd="0" destOrd="0" presId="urn:microsoft.com/office/officeart/2018/2/layout/IconLabelList"/>
    <dgm:cxn modelId="{3AFD0659-3709-4E25-AAFF-40F0C706FAD2}" srcId="{3F388ED1-67EA-4C52-A4EF-B33800D3CCFC}" destId="{97980F97-FD8E-4850-8583-B12FD0A71EDD}" srcOrd="3" destOrd="0" parTransId="{6BBA676C-6505-47E3-B24D-7F015100F287}" sibTransId="{07441A10-64D9-4416-B8F3-0938FE902A71}"/>
    <dgm:cxn modelId="{68226587-6CAC-42AC-BC98-CE56D434B2A5}" type="presOf" srcId="{6765D87C-7CC0-41A0-B409-35F7C6713B98}" destId="{79FCE879-EDA8-4A56-B9E8-3934B4682EB9}" srcOrd="0" destOrd="0" presId="urn:microsoft.com/office/officeart/2018/2/layout/IconLabelList"/>
    <dgm:cxn modelId="{1E28B59D-3EBF-4856-8909-5D258E9B584B}" srcId="{3F388ED1-67EA-4C52-A4EF-B33800D3CCFC}" destId="{253C37E7-9A9E-4D16-802A-A24456CEAAE1}" srcOrd="5" destOrd="0" parTransId="{5955E5F5-4EA7-43CB-959C-41431C3D878F}" sibTransId="{FE96DB33-C5B7-4DEB-82B2-0B1CE90A4D2B}"/>
    <dgm:cxn modelId="{51360FA9-365C-4DFD-B370-D1D12E457467}" srcId="{3F388ED1-67EA-4C52-A4EF-B33800D3CCFC}" destId="{349FD996-44AE-4207-8571-5AD7FE467F82}" srcOrd="4" destOrd="0" parTransId="{DFC14506-07D7-4BAC-AF9E-C1E3B04DA640}" sibTransId="{429D8192-9264-4781-9A0B-4D8DF4D0516E}"/>
    <dgm:cxn modelId="{43BA76C2-4ACD-445E-B0BB-E6896F2CFC4D}" type="presOf" srcId="{27B0C93C-65AD-44AE-BD1D-79565B1AB665}" destId="{055E8662-2533-42D8-B4B8-521917D7DEAC}" srcOrd="0" destOrd="0" presId="urn:microsoft.com/office/officeart/2018/2/layout/IconLabelList"/>
    <dgm:cxn modelId="{06FA7BCA-3249-4D66-83D9-097FEA36AED2}" type="presOf" srcId="{6231BEAF-70FD-4AEB-A281-E1C3F7CDE657}" destId="{C645D0FB-691D-4DD1-A770-EFD951B22D94}" srcOrd="0" destOrd="0" presId="urn:microsoft.com/office/officeart/2018/2/layout/IconLabelList"/>
    <dgm:cxn modelId="{12E62ECD-E328-446C-8BD6-EDFCA2E31102}" type="presOf" srcId="{253C37E7-9A9E-4D16-802A-A24456CEAAE1}" destId="{F8CD23AD-0F84-4328-BCA7-961CDC0F9CC6}" srcOrd="0" destOrd="0" presId="urn:microsoft.com/office/officeart/2018/2/layout/IconLabelList"/>
    <dgm:cxn modelId="{5D86B4D2-3FAE-4110-90C4-EF26B590FDB3}" srcId="{3F388ED1-67EA-4C52-A4EF-B33800D3CCFC}" destId="{6765D87C-7CC0-41A0-B409-35F7C6713B98}" srcOrd="0" destOrd="0" parTransId="{24C96D5D-A300-45E1-8162-B0468AA37BF6}" sibTransId="{4C6C75F7-926F-45DD-9F25-3A9FC1E581A0}"/>
    <dgm:cxn modelId="{3E8B6DE0-36B6-44F0-ABBD-4A8C712CCB29}" type="presOf" srcId="{3F388ED1-67EA-4C52-A4EF-B33800D3CCFC}" destId="{C3088A38-995F-4EC6-9F78-BAFAEAF4162C}" srcOrd="0" destOrd="0" presId="urn:microsoft.com/office/officeart/2018/2/layout/IconLabelList"/>
    <dgm:cxn modelId="{D83D4FFF-EA32-4A11-9D78-F058549A307A}" srcId="{3F388ED1-67EA-4C52-A4EF-B33800D3CCFC}" destId="{6231BEAF-70FD-4AEB-A281-E1C3F7CDE657}" srcOrd="1" destOrd="0" parTransId="{40235C9D-7692-4244-97C2-DBBB4D4D2FF7}" sibTransId="{D81DA91B-005B-4E14-AFDF-C8B3B3160C6B}"/>
    <dgm:cxn modelId="{9B9CC23F-8425-4D48-96E8-9AF5BA002A90}" type="presParOf" srcId="{C3088A38-995F-4EC6-9F78-BAFAEAF4162C}" destId="{D05E4E73-9587-4A56-B8AA-2D6161B9C368}" srcOrd="0" destOrd="0" presId="urn:microsoft.com/office/officeart/2018/2/layout/IconLabelList"/>
    <dgm:cxn modelId="{DE80932F-CA01-4BE1-B27E-220BCA2C8A6E}" type="presParOf" srcId="{D05E4E73-9587-4A56-B8AA-2D6161B9C368}" destId="{D99A27DE-1A9D-4CFC-BE2E-D6325D4C73B2}" srcOrd="0" destOrd="0" presId="urn:microsoft.com/office/officeart/2018/2/layout/IconLabelList"/>
    <dgm:cxn modelId="{21D0F9C9-9116-4873-8BD9-3B906176D4C7}" type="presParOf" srcId="{D05E4E73-9587-4A56-B8AA-2D6161B9C368}" destId="{8667B507-D177-4EC0-A407-1521B796D904}" srcOrd="1" destOrd="0" presId="urn:microsoft.com/office/officeart/2018/2/layout/IconLabelList"/>
    <dgm:cxn modelId="{9605A20F-81D3-455B-B804-330D5150947E}" type="presParOf" srcId="{D05E4E73-9587-4A56-B8AA-2D6161B9C368}" destId="{79FCE879-EDA8-4A56-B9E8-3934B4682EB9}" srcOrd="2" destOrd="0" presId="urn:microsoft.com/office/officeart/2018/2/layout/IconLabelList"/>
    <dgm:cxn modelId="{AB3CB3C9-4141-4428-AE41-2C2D02EFB145}" type="presParOf" srcId="{C3088A38-995F-4EC6-9F78-BAFAEAF4162C}" destId="{6E752127-53E6-4E86-8330-1CDB423EB111}" srcOrd="1" destOrd="0" presId="urn:microsoft.com/office/officeart/2018/2/layout/IconLabelList"/>
    <dgm:cxn modelId="{42BB9DBF-6399-426F-A910-830EE01838A2}" type="presParOf" srcId="{C3088A38-995F-4EC6-9F78-BAFAEAF4162C}" destId="{4425BB72-67F0-47AF-9B82-CA0521543AF0}" srcOrd="2" destOrd="0" presId="urn:microsoft.com/office/officeart/2018/2/layout/IconLabelList"/>
    <dgm:cxn modelId="{533A2F91-0CA9-45F8-B0DE-BBDC0B09F398}" type="presParOf" srcId="{4425BB72-67F0-47AF-9B82-CA0521543AF0}" destId="{B02E9D7E-F6E6-43AD-AAC9-B8DAE5007E4C}" srcOrd="0" destOrd="0" presId="urn:microsoft.com/office/officeart/2018/2/layout/IconLabelList"/>
    <dgm:cxn modelId="{D40D0BCC-4512-42F6-AEB5-36F8403AB991}" type="presParOf" srcId="{4425BB72-67F0-47AF-9B82-CA0521543AF0}" destId="{47A43DDC-EDCF-451A-BC7A-3BA7127C9D9D}" srcOrd="1" destOrd="0" presId="urn:microsoft.com/office/officeart/2018/2/layout/IconLabelList"/>
    <dgm:cxn modelId="{7F75C067-1E02-40F4-93B6-33637AF8C770}" type="presParOf" srcId="{4425BB72-67F0-47AF-9B82-CA0521543AF0}" destId="{C645D0FB-691D-4DD1-A770-EFD951B22D94}" srcOrd="2" destOrd="0" presId="urn:microsoft.com/office/officeart/2018/2/layout/IconLabelList"/>
    <dgm:cxn modelId="{E7208A0F-1649-4133-A7B6-3B48A574D983}" type="presParOf" srcId="{C3088A38-995F-4EC6-9F78-BAFAEAF4162C}" destId="{81722C06-5ED7-488E-B671-DA04CF4D005E}" srcOrd="3" destOrd="0" presId="urn:microsoft.com/office/officeart/2018/2/layout/IconLabelList"/>
    <dgm:cxn modelId="{CCEE08E7-0752-4690-9C09-0F0B017DA4DD}" type="presParOf" srcId="{C3088A38-995F-4EC6-9F78-BAFAEAF4162C}" destId="{492226F2-ECB5-4A9A-83B3-1D3658F8ECC7}" srcOrd="4" destOrd="0" presId="urn:microsoft.com/office/officeart/2018/2/layout/IconLabelList"/>
    <dgm:cxn modelId="{7E893FA9-7C2E-4CAD-A5FF-EADFA1E4F4B7}" type="presParOf" srcId="{492226F2-ECB5-4A9A-83B3-1D3658F8ECC7}" destId="{4E3EF8FC-D81C-4C6A-806C-EA4743F4BA77}" srcOrd="0" destOrd="0" presId="urn:microsoft.com/office/officeart/2018/2/layout/IconLabelList"/>
    <dgm:cxn modelId="{F5F4BF51-C352-4C9A-8153-8D6B4B68B639}" type="presParOf" srcId="{492226F2-ECB5-4A9A-83B3-1D3658F8ECC7}" destId="{28B72FB2-153D-41A2-BD5A-3D59DFAA907C}" srcOrd="1" destOrd="0" presId="urn:microsoft.com/office/officeart/2018/2/layout/IconLabelList"/>
    <dgm:cxn modelId="{42AC7193-A249-4433-9BBD-B39C293E31C5}" type="presParOf" srcId="{492226F2-ECB5-4A9A-83B3-1D3658F8ECC7}" destId="{055E8662-2533-42D8-B4B8-521917D7DEAC}" srcOrd="2" destOrd="0" presId="urn:microsoft.com/office/officeart/2018/2/layout/IconLabelList"/>
    <dgm:cxn modelId="{3C6F6F6B-C99E-454D-AE6F-FAFD89CA1CB4}" type="presParOf" srcId="{C3088A38-995F-4EC6-9F78-BAFAEAF4162C}" destId="{F24FB88B-8951-44CD-B4BE-2C3E45E0842B}" srcOrd="5" destOrd="0" presId="urn:microsoft.com/office/officeart/2018/2/layout/IconLabelList"/>
    <dgm:cxn modelId="{BEB9622B-BCDF-4E2F-9E16-A1A7967BEB61}" type="presParOf" srcId="{C3088A38-995F-4EC6-9F78-BAFAEAF4162C}" destId="{01DDB054-2946-4508-A072-B38236E42C83}" srcOrd="6" destOrd="0" presId="urn:microsoft.com/office/officeart/2018/2/layout/IconLabelList"/>
    <dgm:cxn modelId="{F858E456-51EE-4575-9E17-7367DA0A9644}" type="presParOf" srcId="{01DDB054-2946-4508-A072-B38236E42C83}" destId="{57CC4C62-BD4B-45BD-83D8-0A29B71FFADD}" srcOrd="0" destOrd="0" presId="urn:microsoft.com/office/officeart/2018/2/layout/IconLabelList"/>
    <dgm:cxn modelId="{942609AE-1341-48B8-BA8B-BE10555F2A71}" type="presParOf" srcId="{01DDB054-2946-4508-A072-B38236E42C83}" destId="{86E0AAC4-6666-4366-86EF-3252C8C6CA8F}" srcOrd="1" destOrd="0" presId="urn:microsoft.com/office/officeart/2018/2/layout/IconLabelList"/>
    <dgm:cxn modelId="{A2B3CA32-6B08-4784-A61D-C71D77A5C745}" type="presParOf" srcId="{01DDB054-2946-4508-A072-B38236E42C83}" destId="{C247C313-91DA-4206-839D-B34E91EFC201}" srcOrd="2" destOrd="0" presId="urn:microsoft.com/office/officeart/2018/2/layout/IconLabelList"/>
    <dgm:cxn modelId="{D7027874-5607-4A6D-AC14-E84FBD5CB55A}" type="presParOf" srcId="{C3088A38-995F-4EC6-9F78-BAFAEAF4162C}" destId="{C71F7B83-B8BC-43D9-B497-AE47E4C88717}" srcOrd="7" destOrd="0" presId="urn:microsoft.com/office/officeart/2018/2/layout/IconLabelList"/>
    <dgm:cxn modelId="{A0863BA4-8A71-4AB7-ACA8-4C9501C4C858}" type="presParOf" srcId="{C3088A38-995F-4EC6-9F78-BAFAEAF4162C}" destId="{5695538A-F7DD-43EC-A3B0-2C1F8C3AF035}" srcOrd="8" destOrd="0" presId="urn:microsoft.com/office/officeart/2018/2/layout/IconLabelList"/>
    <dgm:cxn modelId="{BC516886-8455-472E-B186-ED6664CEAB12}" type="presParOf" srcId="{5695538A-F7DD-43EC-A3B0-2C1F8C3AF035}" destId="{E86A0C04-E9B4-4015-A6A8-3FB1046B29CE}" srcOrd="0" destOrd="0" presId="urn:microsoft.com/office/officeart/2018/2/layout/IconLabelList"/>
    <dgm:cxn modelId="{9C05CEE3-B74D-432B-9231-03CBF21A3591}" type="presParOf" srcId="{5695538A-F7DD-43EC-A3B0-2C1F8C3AF035}" destId="{D2D79CFB-0CF4-4C0C-BEB0-EA6D92F581EA}" srcOrd="1" destOrd="0" presId="urn:microsoft.com/office/officeart/2018/2/layout/IconLabelList"/>
    <dgm:cxn modelId="{B712E262-9CBA-4171-8F95-A55CD99702E2}" type="presParOf" srcId="{5695538A-F7DD-43EC-A3B0-2C1F8C3AF035}" destId="{4218699A-9F44-43C4-BACD-AFA07472911A}" srcOrd="2" destOrd="0" presId="urn:microsoft.com/office/officeart/2018/2/layout/IconLabelList"/>
    <dgm:cxn modelId="{CE5797A7-CC93-4F3A-B65B-DE1842976AC4}" type="presParOf" srcId="{C3088A38-995F-4EC6-9F78-BAFAEAF4162C}" destId="{0054ECED-2F46-4FA7-AC87-F6DA2C7F139B}" srcOrd="9" destOrd="0" presId="urn:microsoft.com/office/officeart/2018/2/layout/IconLabelList"/>
    <dgm:cxn modelId="{B1F27BB5-1830-4805-B057-F026D89AB023}" type="presParOf" srcId="{C3088A38-995F-4EC6-9F78-BAFAEAF4162C}" destId="{07CB86F6-7387-449F-BCEA-84E42CC7E22F}" srcOrd="10" destOrd="0" presId="urn:microsoft.com/office/officeart/2018/2/layout/IconLabelList"/>
    <dgm:cxn modelId="{2254D662-0B72-4454-99F5-CA15170C338E}" type="presParOf" srcId="{07CB86F6-7387-449F-BCEA-84E42CC7E22F}" destId="{5421B5D6-8F0B-4CBE-B7B3-DBCDD202F370}" srcOrd="0" destOrd="0" presId="urn:microsoft.com/office/officeart/2018/2/layout/IconLabelList"/>
    <dgm:cxn modelId="{9C142A84-BE59-481F-AE08-EC5C76E6B3BA}" type="presParOf" srcId="{07CB86F6-7387-449F-BCEA-84E42CC7E22F}" destId="{EBBF4D40-2EF1-4012-ABEC-74915D189F7E}" srcOrd="1" destOrd="0" presId="urn:microsoft.com/office/officeart/2018/2/layout/IconLabelList"/>
    <dgm:cxn modelId="{3C34B123-F1D8-4313-85BF-CF1414B651C3}" type="presParOf" srcId="{07CB86F6-7387-449F-BCEA-84E42CC7E22F}" destId="{F8CD23AD-0F84-4328-BCA7-961CDC0F9CC6}"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main"/>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BCA4F3-8F30-418C-9B3B-9FAE6FBB2AFD}">
      <dsp:nvSpPr>
        <dsp:cNvPr id="0" name=""/>
        <dsp:cNvSpPr/>
      </dsp:nvSpPr>
      <dsp:spPr>
        <a:xfrm>
          <a:off x="0" y="2009"/>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E1DE14D-271D-4E48-A734-F66D4AA6B04D}">
      <dsp:nvSpPr>
        <dsp:cNvPr id="0" name=""/>
        <dsp:cNvSpPr/>
      </dsp:nvSpPr>
      <dsp:spPr>
        <a:xfrm>
          <a:off x="308107" y="231180"/>
          <a:ext cx="560195" cy="56019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0EBE8A2-D7D4-4676-91C2-0669EA92AE50}">
      <dsp:nvSpPr>
        <dsp:cNvPr id="0" name=""/>
        <dsp:cNvSpPr/>
      </dsp:nvSpPr>
      <dsp:spPr>
        <a:xfrm>
          <a:off x="1176411" y="2009"/>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44550">
            <a:lnSpc>
              <a:spcPct val="90000"/>
            </a:lnSpc>
            <a:spcBef>
              <a:spcPct val="0"/>
            </a:spcBef>
            <a:spcAft>
              <a:spcPct val="35000"/>
            </a:spcAft>
            <a:buNone/>
          </a:pPr>
          <a:r>
            <a:rPr lang="de" sz="1900" b="0" i="0" strike="noStrike" kern="1200" cap="none" spc="0" baseline="0">
              <a:solidFill>
                <a:srgbClr val="000000"/>
              </a:solidFill>
              <a:effectLst/>
              <a:latin typeface="Calibri"/>
              <a:ea typeface="Calibri"/>
              <a:cs typeface="Calibri"/>
            </a:rPr>
            <a:t>Jeder möchte Teil eines Teams sein, das respektvoll und erfolgreich ist</a:t>
          </a:r>
          <a:endParaRPr lang="en-US" kern="1200"/>
        </a:p>
      </dsp:txBody>
      <dsp:txXfrm>
        <a:off x="1176411" y="2009"/>
        <a:ext cx="6898424" cy="1018537"/>
      </dsp:txXfrm>
    </dsp:sp>
    <dsp:sp modelId="{62399D1D-6A37-4655-9B96-57525ECC5F52}">
      <dsp:nvSpPr>
        <dsp:cNvPr id="0" name=""/>
        <dsp:cNvSpPr/>
      </dsp:nvSpPr>
      <dsp:spPr>
        <a:xfrm>
          <a:off x="0" y="1275181"/>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81AAD55-36A6-40B9-B55F-EEF840079F1A}">
      <dsp:nvSpPr>
        <dsp:cNvPr id="0" name=""/>
        <dsp:cNvSpPr/>
      </dsp:nvSpPr>
      <dsp:spPr>
        <a:xfrm>
          <a:off x="308107" y="1504352"/>
          <a:ext cx="560195" cy="56019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09238B2-9DB9-4BD7-8219-1D04AF10EADE}">
      <dsp:nvSpPr>
        <dsp:cNvPr id="0" name=""/>
        <dsp:cNvSpPr/>
      </dsp:nvSpPr>
      <dsp:spPr>
        <a:xfrm>
          <a:off x="1176411" y="1275181"/>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44550">
            <a:lnSpc>
              <a:spcPct val="90000"/>
            </a:lnSpc>
            <a:spcBef>
              <a:spcPct val="0"/>
            </a:spcBef>
            <a:spcAft>
              <a:spcPct val="35000"/>
            </a:spcAft>
            <a:buNone/>
          </a:pPr>
          <a:r>
            <a:rPr lang="de" sz="1900" b="0" i="0" strike="noStrike" kern="1200" cap="none" spc="0" baseline="0">
              <a:solidFill>
                <a:srgbClr val="000000"/>
              </a:solidFill>
              <a:effectLst/>
              <a:latin typeface="Calibri"/>
              <a:ea typeface="Calibri"/>
              <a:cs typeface="Calibri"/>
            </a:rPr>
            <a:t>Der V&amp;E von 168 hält die Prinzipien der Verhinderung von Diskriminierung und Belästigung aufrecht, was das Engagement aller erfordert</a:t>
          </a:r>
          <a:endParaRPr lang="en-US" kern="1200"/>
        </a:p>
      </dsp:txBody>
      <dsp:txXfrm>
        <a:off x="1176411" y="1275181"/>
        <a:ext cx="6898424" cy="1018537"/>
      </dsp:txXfrm>
    </dsp:sp>
    <dsp:sp modelId="{2194DC87-0EB3-47A9-A710-50B67ABE9595}">
      <dsp:nvSpPr>
        <dsp:cNvPr id="0" name=""/>
        <dsp:cNvSpPr/>
      </dsp:nvSpPr>
      <dsp:spPr>
        <a:xfrm>
          <a:off x="0" y="2548354"/>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7043F58-D2C7-4873-8DE7-E85D1568F29E}">
      <dsp:nvSpPr>
        <dsp:cNvPr id="0" name=""/>
        <dsp:cNvSpPr/>
      </dsp:nvSpPr>
      <dsp:spPr>
        <a:xfrm>
          <a:off x="308107" y="2777525"/>
          <a:ext cx="560195" cy="56019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61693E8-D0B4-4833-BD20-F0400943806F}">
      <dsp:nvSpPr>
        <dsp:cNvPr id="0" name=""/>
        <dsp:cNvSpPr/>
      </dsp:nvSpPr>
      <dsp:spPr>
        <a:xfrm>
          <a:off x="1176411" y="2548354"/>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44550">
            <a:lnSpc>
              <a:spcPct val="90000"/>
            </a:lnSpc>
            <a:spcBef>
              <a:spcPct val="0"/>
            </a:spcBef>
            <a:spcAft>
              <a:spcPct val="35000"/>
            </a:spcAft>
            <a:buNone/>
          </a:pPr>
          <a:r>
            <a:rPr lang="de" sz="1900" b="0" i="0" strike="noStrike" kern="1200" cap="none" spc="0" baseline="0">
              <a:solidFill>
                <a:srgbClr val="000000"/>
              </a:solidFill>
              <a:effectLst/>
              <a:latin typeface="Calibri"/>
              <a:ea typeface="Calibri"/>
              <a:cs typeface="Calibri"/>
            </a:rPr>
            <a:t>RPM toleriert keine Respektlosigkeit, Belästigung oder Diskriminierung in irgendeiner Form</a:t>
          </a:r>
          <a:endParaRPr lang="en-US" kern="1200"/>
        </a:p>
      </dsp:txBody>
      <dsp:txXfrm>
        <a:off x="1176411" y="2548354"/>
        <a:ext cx="6898424" cy="1018537"/>
      </dsp:txXfrm>
    </dsp:sp>
    <dsp:sp modelId="{AEF938DC-0277-4425-B5AA-B6E145ABDF3E}">
      <dsp:nvSpPr>
        <dsp:cNvPr id="0" name=""/>
        <dsp:cNvSpPr/>
      </dsp:nvSpPr>
      <dsp:spPr>
        <a:xfrm>
          <a:off x="0" y="3821526"/>
          <a:ext cx="8074836" cy="1018537"/>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E8DF815-E4EC-4C8B-89A3-02381B28C402}">
      <dsp:nvSpPr>
        <dsp:cNvPr id="0" name=""/>
        <dsp:cNvSpPr/>
      </dsp:nvSpPr>
      <dsp:spPr>
        <a:xfrm>
          <a:off x="308107" y="4050697"/>
          <a:ext cx="560195" cy="56019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4931F5D-5E16-4A87-A9D2-51F34F2AEE47}">
      <dsp:nvSpPr>
        <dsp:cNvPr id="0" name=""/>
        <dsp:cNvSpPr/>
      </dsp:nvSpPr>
      <dsp:spPr>
        <a:xfrm>
          <a:off x="1176411" y="3821526"/>
          <a:ext cx="6898424" cy="10185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795" tIns="107795" rIns="107795" bIns="107795" numCol="1" spcCol="1270" anchor="ctr" anchorCtr="0">
          <a:noAutofit/>
        </a:bodyPr>
        <a:lstStyle/>
        <a:p>
          <a:pPr marL="0" lvl="0" indent="0" algn="l" defTabSz="844550">
            <a:lnSpc>
              <a:spcPct val="90000"/>
            </a:lnSpc>
            <a:spcBef>
              <a:spcPct val="0"/>
            </a:spcBef>
            <a:spcAft>
              <a:spcPct val="35000"/>
            </a:spcAft>
            <a:buNone/>
          </a:pPr>
          <a:r>
            <a:rPr lang="de" sz="1900" b="0" i="0" strike="noStrike" kern="1200" cap="none" spc="0" baseline="0">
              <a:solidFill>
                <a:srgbClr val="000000"/>
              </a:solidFill>
              <a:effectLst/>
              <a:latin typeface="Calibri"/>
              <a:ea typeface="Calibri"/>
              <a:cs typeface="Calibri"/>
            </a:rPr>
            <a:t>Wir alle müssen sicherstellen, dass unser Verhalten die Werte von RPM widerspiegelt, und wir müssen Maßnahmen ergreifen, wenn wir unangemessenes Verhalten sehen</a:t>
          </a:r>
          <a:endParaRPr lang="en-US" kern="1200"/>
        </a:p>
      </dsp:txBody>
      <dsp:txXfrm>
        <a:off x="1176411" y="3821526"/>
        <a:ext cx="6898424" cy="1018537"/>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F8FA57-199B-4FDE-9C3F-99E925313025}">
      <dsp:nvSpPr>
        <dsp:cNvPr id="0" name=""/>
        <dsp:cNvSpPr/>
      </dsp:nvSpPr>
      <dsp:spPr>
        <a:xfrm>
          <a:off x="129323" y="1740"/>
          <a:ext cx="3721994" cy="22331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de" sz="2500" b="0" i="0" strike="noStrike" kern="1200" cap="none" spc="0" baseline="0">
              <a:solidFill>
                <a:srgbClr val="FFFFFF"/>
              </a:solidFill>
              <a:effectLst/>
              <a:latin typeface="Calibri"/>
              <a:ea typeface="Calibri"/>
              <a:cs typeface="Calibri"/>
            </a:rPr>
            <a:t>Verursacht Ihr Verhalten Unbehagen oder führt es zu unnötigen Konflikten?</a:t>
          </a:r>
          <a:endParaRPr lang="en-US" kern="1200"/>
        </a:p>
      </dsp:txBody>
      <dsp:txXfrm>
        <a:off x="129323" y="1740"/>
        <a:ext cx="3721994" cy="2233196"/>
      </dsp:txXfrm>
    </dsp:sp>
    <dsp:sp modelId="{8E972E1B-CF68-4A49-915B-097B6B17B149}">
      <dsp:nvSpPr>
        <dsp:cNvPr id="0" name=""/>
        <dsp:cNvSpPr/>
      </dsp:nvSpPr>
      <dsp:spPr>
        <a:xfrm>
          <a:off x="4223517" y="1740"/>
          <a:ext cx="3721994" cy="22331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de" sz="2500" b="0" i="0" strike="noStrike" kern="1200" cap="none" spc="0" baseline="0">
              <a:solidFill>
                <a:srgbClr val="FFFFFF"/>
              </a:solidFill>
              <a:effectLst/>
              <a:latin typeface="Calibri"/>
              <a:ea typeface="Calibri"/>
              <a:cs typeface="Calibri"/>
            </a:rPr>
            <a:t>Wären Sie peinlich, wenn Ihre Freunde, Familie oder Gemeindeleiter von Ihrem Verhalten erfahren würden?</a:t>
          </a:r>
          <a:endParaRPr lang="en-US" kern="1200"/>
        </a:p>
      </dsp:txBody>
      <dsp:txXfrm>
        <a:off x="4223517" y="1740"/>
        <a:ext cx="3721994" cy="2233196"/>
      </dsp:txXfrm>
    </dsp:sp>
    <dsp:sp modelId="{243CC102-BC16-4CF6-99B1-D3653BCF54DD}">
      <dsp:nvSpPr>
        <dsp:cNvPr id="0" name=""/>
        <dsp:cNvSpPr/>
      </dsp:nvSpPr>
      <dsp:spPr>
        <a:xfrm>
          <a:off x="129323" y="2607136"/>
          <a:ext cx="3721994" cy="22331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de" sz="2500" b="0" i="0" strike="noStrike" kern="1200" cap="none" spc="0" baseline="0">
              <a:solidFill>
                <a:srgbClr val="FFFFFF"/>
              </a:solidFill>
              <a:effectLst/>
              <a:latin typeface="Calibri"/>
              <a:ea typeface="Calibri"/>
              <a:cs typeface="Calibri"/>
            </a:rPr>
            <a:t>Ist Ihr Verhalten für Ihre Arbeit oder Leistung relevant oder notwendig?</a:t>
          </a:r>
          <a:endParaRPr lang="en-US" kern="1200"/>
        </a:p>
      </dsp:txBody>
      <dsp:txXfrm>
        <a:off x="129323" y="2607136"/>
        <a:ext cx="3721994" cy="2233196"/>
      </dsp:txXfrm>
    </dsp:sp>
    <dsp:sp modelId="{3345AED3-E8AE-40AD-B56E-281783EF31F5}">
      <dsp:nvSpPr>
        <dsp:cNvPr id="0" name=""/>
        <dsp:cNvSpPr/>
      </dsp:nvSpPr>
      <dsp:spPr>
        <a:xfrm>
          <a:off x="4223517" y="2607136"/>
          <a:ext cx="3721994" cy="223319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ctr" defTabSz="1111250">
            <a:lnSpc>
              <a:spcPct val="90000"/>
            </a:lnSpc>
            <a:spcBef>
              <a:spcPct val="0"/>
            </a:spcBef>
            <a:spcAft>
              <a:spcPct val="35000"/>
            </a:spcAft>
            <a:buNone/>
          </a:pPr>
          <a:r>
            <a:rPr lang="de" sz="2500" b="0" i="0" strike="noStrike" kern="1200" cap="none" spc="0" baseline="0">
              <a:solidFill>
                <a:srgbClr val="FFFFFF"/>
              </a:solidFill>
              <a:effectLst/>
              <a:latin typeface="Calibri"/>
              <a:ea typeface="Calibri"/>
              <a:cs typeface="Calibri"/>
            </a:rPr>
            <a:t>Wenn Sie eine dieser Fragen mit Ja beantworten, überlegen Sie, ob das, was Sie tun oder sagen, angemessen ist.</a:t>
          </a:r>
          <a:endParaRPr lang="en-US" kern="1200"/>
        </a:p>
      </dsp:txBody>
      <dsp:txXfrm>
        <a:off x="4223517" y="2607136"/>
        <a:ext cx="3721994" cy="223319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F51E0D-D045-4E2B-AB0C-4F2EC15C2742}">
      <dsp:nvSpPr>
        <dsp:cNvPr id="0" name=""/>
        <dsp:cNvSpPr/>
      </dsp:nvSpPr>
      <dsp:spPr>
        <a:xfrm>
          <a:off x="0" y="197222"/>
          <a:ext cx="1524000" cy="1574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de" sz="1800" b="0" i="0" strike="noStrike" kern="1200" cap="none" spc="0" baseline="0">
              <a:solidFill>
                <a:srgbClr val="000000"/>
              </a:solidFill>
              <a:effectLst/>
              <a:latin typeface="Calibri"/>
              <a:ea typeface="Calibri"/>
              <a:cs typeface="Calibri"/>
            </a:rPr>
            <a:t>Augenkontakt</a:t>
          </a:r>
        </a:p>
      </dsp:txBody>
      <dsp:txXfrm>
        <a:off x="0" y="197222"/>
        <a:ext cx="1524000" cy="157403"/>
      </dsp:txXfrm>
    </dsp:sp>
    <dsp:sp modelId="{FC80247D-E118-4105-90BF-F29AB52D411B}">
      <dsp:nvSpPr>
        <dsp:cNvPr id="0" name=""/>
        <dsp:cNvSpPr/>
      </dsp:nvSpPr>
      <dsp:spPr>
        <a:xfrm>
          <a:off x="1523999" y="467"/>
          <a:ext cx="304800" cy="550912"/>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D5929079-7C2E-4F45-A6B9-1B7792F83AEF}">
      <dsp:nvSpPr>
        <dsp:cNvPr id="0" name=""/>
        <dsp:cNvSpPr/>
      </dsp:nvSpPr>
      <dsp:spPr>
        <a:xfrm>
          <a:off x="1950719" y="467"/>
          <a:ext cx="4145280" cy="55091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de" sz="1600" b="0" i="0" strike="noStrike" kern="1200" cap="none" spc="0" baseline="0">
              <a:solidFill>
                <a:srgbClr val="FFFFFF"/>
              </a:solidFill>
              <a:effectLst/>
              <a:latin typeface="Calibri"/>
              <a:ea typeface="Calibri"/>
              <a:cs typeface="Calibri"/>
            </a:rPr>
            <a:t>Hat die Person Blickkontakt? Oder vermeiden sie es?</a:t>
          </a:r>
        </a:p>
      </dsp:txBody>
      <dsp:txXfrm>
        <a:off x="1950719" y="467"/>
        <a:ext cx="4145280" cy="550912"/>
      </dsp:txXfrm>
    </dsp:sp>
    <dsp:sp modelId="{33D9AD84-C2DD-43AA-B8C0-6E15771BE78B}">
      <dsp:nvSpPr>
        <dsp:cNvPr id="0" name=""/>
        <dsp:cNvSpPr/>
      </dsp:nvSpPr>
      <dsp:spPr>
        <a:xfrm>
          <a:off x="0" y="786945"/>
          <a:ext cx="1524000" cy="3326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de" sz="1800" b="0" i="0" strike="noStrike" kern="1200" cap="none" spc="0" baseline="0">
              <a:solidFill>
                <a:srgbClr val="000000"/>
              </a:solidFill>
              <a:effectLst/>
              <a:latin typeface="Calibri"/>
              <a:ea typeface="Calibri"/>
              <a:cs typeface="Calibri"/>
            </a:rPr>
            <a:t>Mimik</a:t>
          </a:r>
        </a:p>
      </dsp:txBody>
      <dsp:txXfrm>
        <a:off x="0" y="786945"/>
        <a:ext cx="1524000" cy="332626"/>
      </dsp:txXfrm>
    </dsp:sp>
    <dsp:sp modelId="{9117B35D-C06B-428F-8A45-50C11E8FFA23}">
      <dsp:nvSpPr>
        <dsp:cNvPr id="0" name=""/>
        <dsp:cNvSpPr/>
      </dsp:nvSpPr>
      <dsp:spPr>
        <a:xfrm>
          <a:off x="1524000" y="568659"/>
          <a:ext cx="304800" cy="769198"/>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4E5CFAF-7A5E-4128-8997-A5651A906319}">
      <dsp:nvSpPr>
        <dsp:cNvPr id="0" name=""/>
        <dsp:cNvSpPr/>
      </dsp:nvSpPr>
      <dsp:spPr>
        <a:xfrm>
          <a:off x="1950720" y="568659"/>
          <a:ext cx="4145280" cy="76919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de" sz="1600" b="0" i="0" strike="noStrike" kern="1200" cap="none" spc="0" baseline="0">
              <a:solidFill>
                <a:srgbClr val="FFFFFF"/>
              </a:solidFill>
              <a:effectLst/>
              <a:latin typeface="Calibri"/>
              <a:ea typeface="Calibri"/>
              <a:cs typeface="Calibri"/>
            </a:rPr>
            <a:t>Zeigt das Gesicht der Person Wärme und Interesse? Oder ist es leer oder zeigt es Unbehagen?</a:t>
          </a:r>
        </a:p>
      </dsp:txBody>
      <dsp:txXfrm>
        <a:off x="1950720" y="568659"/>
        <a:ext cx="4145280" cy="769198"/>
      </dsp:txXfrm>
    </dsp:sp>
    <dsp:sp modelId="{5400C3F5-CC03-4C92-9C64-BD6ED3005EC2}">
      <dsp:nvSpPr>
        <dsp:cNvPr id="0" name=""/>
        <dsp:cNvSpPr/>
      </dsp:nvSpPr>
      <dsp:spPr>
        <a:xfrm>
          <a:off x="0" y="1464280"/>
          <a:ext cx="1524000" cy="3326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de" sz="1800" b="0" i="0" strike="noStrike" kern="1200" cap="none" spc="0" baseline="0">
              <a:solidFill>
                <a:srgbClr val="000000"/>
              </a:solidFill>
              <a:effectLst/>
              <a:latin typeface="Calibri"/>
              <a:ea typeface="Calibri"/>
              <a:cs typeface="Calibri"/>
            </a:rPr>
            <a:t>Tonfall</a:t>
          </a:r>
        </a:p>
      </dsp:txBody>
      <dsp:txXfrm>
        <a:off x="0" y="1464280"/>
        <a:ext cx="1524000" cy="332626"/>
      </dsp:txXfrm>
    </dsp:sp>
    <dsp:sp modelId="{C3AF3EC1-996A-46C1-B710-476892751235}">
      <dsp:nvSpPr>
        <dsp:cNvPr id="0" name=""/>
        <dsp:cNvSpPr/>
      </dsp:nvSpPr>
      <dsp:spPr>
        <a:xfrm>
          <a:off x="1524000" y="1355137"/>
          <a:ext cx="304800" cy="550912"/>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A87B468-0784-4F3F-9515-BBB3492CC8A0}">
      <dsp:nvSpPr>
        <dsp:cNvPr id="0" name=""/>
        <dsp:cNvSpPr/>
      </dsp:nvSpPr>
      <dsp:spPr>
        <a:xfrm>
          <a:off x="1950720" y="1355137"/>
          <a:ext cx="4145280" cy="55091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de" sz="1600" b="0" i="0" strike="noStrike" kern="1200" cap="none" spc="0" baseline="0">
              <a:solidFill>
                <a:srgbClr val="FFFFFF"/>
              </a:solidFill>
              <a:effectLst/>
              <a:latin typeface="Calibri"/>
              <a:ea typeface="Calibri"/>
              <a:cs typeface="Calibri"/>
            </a:rPr>
            <a:t>Beruhigt oder interessiert sich die Stimme der Person? Oder ist es angespannt?</a:t>
          </a:r>
        </a:p>
      </dsp:txBody>
      <dsp:txXfrm>
        <a:off x="1950720" y="1355137"/>
        <a:ext cx="4145280" cy="550912"/>
      </dsp:txXfrm>
    </dsp:sp>
    <dsp:sp modelId="{85BD6EBC-B7BD-4283-9195-03758FD188DF}">
      <dsp:nvSpPr>
        <dsp:cNvPr id="0" name=""/>
        <dsp:cNvSpPr/>
      </dsp:nvSpPr>
      <dsp:spPr>
        <a:xfrm>
          <a:off x="0" y="1923329"/>
          <a:ext cx="1524000" cy="5702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de" sz="1800" b="0" i="0" strike="noStrike" kern="1200" cap="none" spc="0" baseline="0">
              <a:solidFill>
                <a:srgbClr val="000000"/>
              </a:solidFill>
              <a:effectLst/>
              <a:latin typeface="Calibri"/>
              <a:ea typeface="Calibri"/>
              <a:cs typeface="Calibri"/>
            </a:rPr>
            <a:t>Haltung und Geste</a:t>
          </a:r>
        </a:p>
      </dsp:txBody>
      <dsp:txXfrm>
        <a:off x="0" y="1923329"/>
        <a:ext cx="1524000" cy="570216"/>
      </dsp:txXfrm>
    </dsp:sp>
    <dsp:sp modelId="{E0FC9C9B-F53E-4A4C-8BA2-1529EE697C2B}">
      <dsp:nvSpPr>
        <dsp:cNvPr id="0" name=""/>
        <dsp:cNvSpPr/>
      </dsp:nvSpPr>
      <dsp:spPr>
        <a:xfrm>
          <a:off x="1524000" y="1923329"/>
          <a:ext cx="304800" cy="570216"/>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CD8488-674C-4C0C-9655-2C89CD3ACFBA}">
      <dsp:nvSpPr>
        <dsp:cNvPr id="0" name=""/>
        <dsp:cNvSpPr/>
      </dsp:nvSpPr>
      <dsp:spPr>
        <a:xfrm>
          <a:off x="1950720" y="1923329"/>
          <a:ext cx="4145280" cy="570216"/>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de" sz="1600" b="0" i="0" strike="noStrike" kern="1200" cap="none" spc="0" baseline="0">
              <a:solidFill>
                <a:srgbClr val="FFFFFF"/>
              </a:solidFill>
              <a:effectLst/>
              <a:latin typeface="Calibri"/>
              <a:ea typeface="Calibri"/>
              <a:cs typeface="Calibri"/>
            </a:rPr>
            <a:t>Ist der Körper der Person entspannt? Oder ist es steif und immobil?</a:t>
          </a:r>
        </a:p>
      </dsp:txBody>
      <dsp:txXfrm>
        <a:off x="1950720" y="1923329"/>
        <a:ext cx="4145280" cy="570216"/>
      </dsp:txXfrm>
    </dsp:sp>
    <dsp:sp modelId="{A3CD7AA6-38F4-4A44-AF0C-AA53CC2A4238}">
      <dsp:nvSpPr>
        <dsp:cNvPr id="0" name=""/>
        <dsp:cNvSpPr/>
      </dsp:nvSpPr>
      <dsp:spPr>
        <a:xfrm>
          <a:off x="0" y="2608831"/>
          <a:ext cx="1524000" cy="5702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de" sz="1800" b="0" i="0" strike="noStrike" kern="1200" cap="none" spc="0" baseline="0">
              <a:solidFill>
                <a:srgbClr val="000000"/>
              </a:solidFill>
              <a:effectLst/>
              <a:latin typeface="Calibri"/>
              <a:ea typeface="Calibri"/>
              <a:cs typeface="Calibri"/>
            </a:rPr>
            <a:t>Zeitplanung und Ort</a:t>
          </a:r>
        </a:p>
      </dsp:txBody>
      <dsp:txXfrm>
        <a:off x="0" y="2608831"/>
        <a:ext cx="1524000" cy="570216"/>
      </dsp:txXfrm>
    </dsp:sp>
    <dsp:sp modelId="{A0BBA243-A395-4F9E-9DD5-840A3D69F33B}">
      <dsp:nvSpPr>
        <dsp:cNvPr id="0" name=""/>
        <dsp:cNvSpPr/>
      </dsp:nvSpPr>
      <dsp:spPr>
        <a:xfrm>
          <a:off x="1524000" y="2510825"/>
          <a:ext cx="304800" cy="766228"/>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6AAEBA6-B695-4691-8B00-49D1E4CA4B7B}">
      <dsp:nvSpPr>
        <dsp:cNvPr id="0" name=""/>
        <dsp:cNvSpPr/>
      </dsp:nvSpPr>
      <dsp:spPr>
        <a:xfrm>
          <a:off x="1950720" y="2510825"/>
          <a:ext cx="4145280" cy="76622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de" sz="1600" b="0" i="0" strike="noStrike" kern="1200" cap="none" spc="0" baseline="0">
              <a:solidFill>
                <a:srgbClr val="FFFFFF"/>
              </a:solidFill>
              <a:effectLst/>
              <a:latin typeface="Calibri"/>
              <a:ea typeface="Calibri"/>
              <a:cs typeface="Calibri"/>
            </a:rPr>
            <a:t>Gibt es einen einfachen Informationsfluss hin und her? Oder handelt es sich größtenteils um ein einseitiges Gespräch?</a:t>
          </a:r>
        </a:p>
      </dsp:txBody>
      <dsp:txXfrm>
        <a:off x="1950720" y="2510825"/>
        <a:ext cx="4145280" cy="766228"/>
      </dsp:txXfrm>
    </dsp:sp>
    <dsp:sp modelId="{1165B149-41F8-4D08-BA1A-5857706E9CDE}">
      <dsp:nvSpPr>
        <dsp:cNvPr id="0" name=""/>
        <dsp:cNvSpPr/>
      </dsp:nvSpPr>
      <dsp:spPr>
        <a:xfrm>
          <a:off x="0" y="3512619"/>
          <a:ext cx="1524000" cy="3326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45720" rIns="128016" bIns="45720" numCol="1" spcCol="1270" anchor="ctr" anchorCtr="0">
          <a:noAutofit/>
        </a:bodyPr>
        <a:lstStyle/>
        <a:p>
          <a:pPr marL="0" lvl="0" indent="0" algn="r" defTabSz="800100">
            <a:lnSpc>
              <a:spcPct val="90000"/>
            </a:lnSpc>
            <a:spcBef>
              <a:spcPct val="0"/>
            </a:spcBef>
            <a:spcAft>
              <a:spcPct val="35000"/>
            </a:spcAft>
            <a:buNone/>
          </a:pPr>
          <a:r>
            <a:rPr lang="de" sz="1800" b="0" i="0" strike="noStrike" kern="1200" cap="none" spc="0" baseline="0">
              <a:solidFill>
                <a:srgbClr val="000000"/>
              </a:solidFill>
              <a:effectLst/>
              <a:latin typeface="Calibri"/>
              <a:ea typeface="Calibri"/>
              <a:cs typeface="Calibri"/>
            </a:rPr>
            <a:t>Engagement</a:t>
          </a:r>
        </a:p>
      </dsp:txBody>
      <dsp:txXfrm>
        <a:off x="0" y="3512619"/>
        <a:ext cx="1524000" cy="332626"/>
      </dsp:txXfrm>
    </dsp:sp>
    <dsp:sp modelId="{0A6E157B-C627-4B14-8B26-59B96448430A}">
      <dsp:nvSpPr>
        <dsp:cNvPr id="0" name=""/>
        <dsp:cNvSpPr/>
      </dsp:nvSpPr>
      <dsp:spPr>
        <a:xfrm>
          <a:off x="1524000" y="3294333"/>
          <a:ext cx="304800" cy="769198"/>
        </a:xfrm>
        <a:prstGeom prst="leftBrace">
          <a:avLst>
            <a:gd name="adj1" fmla="val 35000"/>
            <a:gd name="adj2" fmla="val 50000"/>
          </a:avLst>
        </a:pr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846999F-8B22-4EFB-AAE0-C9D0AFC0A833}">
      <dsp:nvSpPr>
        <dsp:cNvPr id="0" name=""/>
        <dsp:cNvSpPr/>
      </dsp:nvSpPr>
      <dsp:spPr>
        <a:xfrm>
          <a:off x="1950720" y="3294333"/>
          <a:ext cx="4145280" cy="76919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de" sz="1600" b="0" i="0" strike="noStrike" kern="1200" cap="none" spc="0" baseline="0">
              <a:solidFill>
                <a:srgbClr val="FFFFFF"/>
              </a:solidFill>
              <a:effectLst/>
              <a:latin typeface="Calibri"/>
              <a:ea typeface="Calibri"/>
              <a:cs typeface="Calibri"/>
            </a:rPr>
            <a:t>Scheint die Person das Gespräch zu genießen? Oder sind sie auf der Suche nach einem Ausstieg aus der Interaktion?</a:t>
          </a:r>
        </a:p>
      </dsp:txBody>
      <dsp:txXfrm>
        <a:off x="1950720" y="3294333"/>
        <a:ext cx="4145280" cy="76919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3D0F38-1697-4DDF-87B5-31AB4FDDCA6E}">
      <dsp:nvSpPr>
        <dsp:cNvPr id="0" name=""/>
        <dsp:cNvSpPr/>
      </dsp:nvSpPr>
      <dsp:spPr>
        <a:xfrm>
          <a:off x="349150" y="134372"/>
          <a:ext cx="1089421" cy="1089421"/>
        </a:xfrm>
        <a:prstGeom prst="round2DiagRect">
          <a:avLst>
            <a:gd name="adj1" fmla="val 29727"/>
            <a:gd name="adj2" fmla="val 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72CB9A9-E8F4-48A6-863C-3857BF4A1898}">
      <dsp:nvSpPr>
        <dsp:cNvPr id="0" name=""/>
        <dsp:cNvSpPr/>
      </dsp:nvSpPr>
      <dsp:spPr>
        <a:xfrm>
          <a:off x="581322" y="366544"/>
          <a:ext cx="625078" cy="62507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AA18965-2D4D-4724-835A-2A765ACE07BF}">
      <dsp:nvSpPr>
        <dsp:cNvPr id="0" name=""/>
        <dsp:cNvSpPr/>
      </dsp:nvSpPr>
      <dsp:spPr>
        <a:xfrm>
          <a:off x="892" y="1563122"/>
          <a:ext cx="1785937" cy="7813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93395">
            <a:lnSpc>
              <a:spcPct val="90000"/>
            </a:lnSpc>
            <a:spcBef>
              <a:spcPct val="0"/>
            </a:spcBef>
            <a:spcAft>
              <a:spcPct val="35000"/>
            </a:spcAft>
            <a:buNone/>
            <a:defRPr cap="all"/>
          </a:pPr>
          <a:r>
            <a:rPr lang="de" sz="1110" b="0" i="0" strike="noStrike" kern="1200" cap="all" spc="0" baseline="0">
              <a:solidFill>
                <a:srgbClr val="000000"/>
              </a:solidFill>
              <a:effectLst/>
              <a:latin typeface="Calibri"/>
              <a:ea typeface="Calibri"/>
              <a:cs typeface="Calibri"/>
            </a:rPr>
            <a:t>Disrupt, konfrontiert, unterstützt – aber nur iF angemessen!</a:t>
          </a:r>
          <a:endParaRPr lang="en-US" kern="1200"/>
        </a:p>
      </dsp:txBody>
      <dsp:txXfrm>
        <a:off x="892" y="1563122"/>
        <a:ext cx="1785937" cy="781347"/>
      </dsp:txXfrm>
    </dsp:sp>
    <dsp:sp modelId="{71CADC7A-C1B0-44C3-93BB-21CE4C51B4F2}">
      <dsp:nvSpPr>
        <dsp:cNvPr id="0" name=""/>
        <dsp:cNvSpPr/>
      </dsp:nvSpPr>
      <dsp:spPr>
        <a:xfrm>
          <a:off x="2447627" y="134372"/>
          <a:ext cx="1089421" cy="1089421"/>
        </a:xfrm>
        <a:prstGeom prst="round2DiagRect">
          <a:avLst>
            <a:gd name="adj1" fmla="val 29727"/>
            <a:gd name="adj2" fmla="val 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E7A4B8A-9FB1-49BB-AD5F-E16F4D6B1202}">
      <dsp:nvSpPr>
        <dsp:cNvPr id="0" name=""/>
        <dsp:cNvSpPr/>
      </dsp:nvSpPr>
      <dsp:spPr>
        <a:xfrm>
          <a:off x="2679799" y="366544"/>
          <a:ext cx="625078" cy="62507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FF8B6D1-5618-4F35-9FB1-447D4C8D3EB4}">
      <dsp:nvSpPr>
        <dsp:cNvPr id="0" name=""/>
        <dsp:cNvSpPr/>
      </dsp:nvSpPr>
      <dsp:spPr>
        <a:xfrm>
          <a:off x="2099369" y="1563122"/>
          <a:ext cx="1785937" cy="7813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93395">
            <a:lnSpc>
              <a:spcPct val="90000"/>
            </a:lnSpc>
            <a:spcBef>
              <a:spcPct val="0"/>
            </a:spcBef>
            <a:spcAft>
              <a:spcPct val="35000"/>
            </a:spcAft>
            <a:buNone/>
            <a:defRPr cap="all"/>
          </a:pPr>
          <a:r>
            <a:rPr lang="de" sz="1110" b="0" i="0" strike="noStrike" kern="1200" cap="all" spc="0" baseline="0">
              <a:solidFill>
                <a:srgbClr val="000000"/>
              </a:solidFill>
              <a:effectLst/>
              <a:latin typeface="Calibri"/>
              <a:ea typeface="Calibri"/>
              <a:cs typeface="Calibri"/>
            </a:rPr>
            <a:t>Wir möchten wissen, ob Sie glauben, dass das Verhalten einer Person unangemessen oder rechtswidrig ist. </a:t>
          </a:r>
          <a:endParaRPr lang="en-US" kern="1200"/>
        </a:p>
      </dsp:txBody>
      <dsp:txXfrm>
        <a:off x="2099369" y="1563122"/>
        <a:ext cx="1785937" cy="781347"/>
      </dsp:txXfrm>
    </dsp:sp>
    <dsp:sp modelId="{1FE7E204-545F-440C-8C97-4A51872D9726}">
      <dsp:nvSpPr>
        <dsp:cNvPr id="0" name=""/>
        <dsp:cNvSpPr/>
      </dsp:nvSpPr>
      <dsp:spPr>
        <a:xfrm>
          <a:off x="349150" y="2790954"/>
          <a:ext cx="1089421" cy="1089421"/>
        </a:xfrm>
        <a:prstGeom prst="round2DiagRect">
          <a:avLst>
            <a:gd name="adj1" fmla="val 29727"/>
            <a:gd name="adj2" fmla="val 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5FF4209-844A-4978-977D-D9B2596F75E9}">
      <dsp:nvSpPr>
        <dsp:cNvPr id="0" name=""/>
        <dsp:cNvSpPr/>
      </dsp:nvSpPr>
      <dsp:spPr>
        <a:xfrm>
          <a:off x="581322" y="3023126"/>
          <a:ext cx="625078" cy="62507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30BC5A38-EAF4-4B1E-9660-0ECB3613D90C}">
      <dsp:nvSpPr>
        <dsp:cNvPr id="0" name=""/>
        <dsp:cNvSpPr/>
      </dsp:nvSpPr>
      <dsp:spPr>
        <a:xfrm>
          <a:off x="892" y="4219704"/>
          <a:ext cx="1785937" cy="7813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93395">
            <a:lnSpc>
              <a:spcPct val="90000"/>
            </a:lnSpc>
            <a:spcBef>
              <a:spcPct val="0"/>
            </a:spcBef>
            <a:spcAft>
              <a:spcPct val="35000"/>
            </a:spcAft>
            <a:buNone/>
            <a:defRPr cap="all"/>
          </a:pPr>
          <a:r>
            <a:rPr lang="de" sz="1110" b="0" i="0" strike="noStrike" kern="1200" cap="all" spc="0" baseline="0">
              <a:solidFill>
                <a:srgbClr val="000000"/>
              </a:solidFill>
              <a:effectLst/>
              <a:latin typeface="Calibri"/>
              <a:ea typeface="Calibri"/>
              <a:cs typeface="Calibri"/>
            </a:rPr>
            <a:t>Alle Beschwerden werden ernst genommen, untersucht und gegebenenfalls bearbeitet. </a:t>
          </a:r>
          <a:endParaRPr lang="en-US" kern="1200"/>
        </a:p>
      </dsp:txBody>
      <dsp:txXfrm>
        <a:off x="892" y="4219704"/>
        <a:ext cx="1785937" cy="781347"/>
      </dsp:txXfrm>
    </dsp:sp>
    <dsp:sp modelId="{10143779-9C38-42BF-84D1-1850484485B4}">
      <dsp:nvSpPr>
        <dsp:cNvPr id="0" name=""/>
        <dsp:cNvSpPr/>
      </dsp:nvSpPr>
      <dsp:spPr>
        <a:xfrm>
          <a:off x="2447627" y="2790954"/>
          <a:ext cx="1089421" cy="1089421"/>
        </a:xfrm>
        <a:prstGeom prst="round2DiagRect">
          <a:avLst>
            <a:gd name="adj1" fmla="val 29727"/>
            <a:gd name="adj2" fmla="val 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37D5008-931D-4678-B3D6-809AC5E131FA}">
      <dsp:nvSpPr>
        <dsp:cNvPr id="0" name=""/>
        <dsp:cNvSpPr/>
      </dsp:nvSpPr>
      <dsp:spPr>
        <a:xfrm>
          <a:off x="2679799" y="3023126"/>
          <a:ext cx="625078" cy="62507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CB0CDB9-D0AE-470D-ABFC-DED3FE7A9B30}">
      <dsp:nvSpPr>
        <dsp:cNvPr id="0" name=""/>
        <dsp:cNvSpPr/>
      </dsp:nvSpPr>
      <dsp:spPr>
        <a:xfrm>
          <a:off x="2099369" y="4219704"/>
          <a:ext cx="1785937" cy="78134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93395">
            <a:lnSpc>
              <a:spcPct val="90000"/>
            </a:lnSpc>
            <a:spcBef>
              <a:spcPct val="0"/>
            </a:spcBef>
            <a:spcAft>
              <a:spcPct val="35000"/>
            </a:spcAft>
            <a:buNone/>
            <a:defRPr cap="all"/>
          </a:pPr>
          <a:r>
            <a:rPr lang="de" sz="1110" b="0" i="0" strike="noStrike" kern="1200" cap="all" spc="0" baseline="0">
              <a:solidFill>
                <a:srgbClr val="000000"/>
              </a:solidFill>
              <a:effectLst/>
              <a:latin typeface="Calibri"/>
              <a:ea typeface="Calibri"/>
              <a:cs typeface="Calibri"/>
            </a:rPr>
            <a:t>Wenden Sie sich an Ihren Vorgesetzten, die lokale Personalabteilung, das RPM-Compliance-Team oder die Hotline.</a:t>
          </a:r>
          <a:endParaRPr lang="en-US" kern="1200"/>
        </a:p>
      </dsp:txBody>
      <dsp:txXfrm>
        <a:off x="2099369" y="4219704"/>
        <a:ext cx="1785937" cy="781347"/>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A512D9-B40D-47F9-A846-C726F51B1EC6}">
      <dsp:nvSpPr>
        <dsp:cNvPr id="0" name=""/>
        <dsp:cNvSpPr/>
      </dsp:nvSpPr>
      <dsp:spPr>
        <a:xfrm>
          <a:off x="0" y="2522"/>
          <a:ext cx="8074836" cy="4240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A508474-D63E-4A16-9167-594C791466C4}">
      <dsp:nvSpPr>
        <dsp:cNvPr id="0" name=""/>
        <dsp:cNvSpPr/>
      </dsp:nvSpPr>
      <dsp:spPr>
        <a:xfrm>
          <a:off x="128269" y="97929"/>
          <a:ext cx="233445" cy="23321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CAD54F1-4A2A-422E-A86B-590182CAB8AA}">
      <dsp:nvSpPr>
        <dsp:cNvPr id="0" name=""/>
        <dsp:cNvSpPr/>
      </dsp:nvSpPr>
      <dsp:spPr>
        <a:xfrm>
          <a:off x="489984" y="2522"/>
          <a:ext cx="7533534" cy="5167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693" tIns="54693" rIns="54693" bIns="54693" numCol="1" spcCol="1270" anchor="ctr" anchorCtr="0">
          <a:noAutofit/>
        </a:bodyPr>
        <a:lstStyle/>
        <a:p>
          <a:pPr marL="0" lvl="0" indent="0" algn="l" defTabSz="711200">
            <a:lnSpc>
              <a:spcPct val="100000"/>
            </a:lnSpc>
            <a:spcBef>
              <a:spcPct val="0"/>
            </a:spcBef>
            <a:spcAft>
              <a:spcPct val="35000"/>
            </a:spcAft>
            <a:buNone/>
          </a:pPr>
          <a:r>
            <a:rPr lang="de" sz="1600" b="0" i="0" strike="noStrike" kern="1200" cap="none" spc="0" baseline="0">
              <a:solidFill>
                <a:srgbClr val="000000"/>
              </a:solidFill>
              <a:effectLst/>
              <a:latin typeface="Calibri"/>
              <a:ea typeface="Calibri"/>
              <a:cs typeface="Calibri"/>
            </a:rPr>
            <a:t>Entlassung</a:t>
          </a:r>
          <a:endParaRPr lang="en-US" kern="1200"/>
        </a:p>
      </dsp:txBody>
      <dsp:txXfrm>
        <a:off x="489984" y="2522"/>
        <a:ext cx="7533534" cy="516788"/>
      </dsp:txXfrm>
    </dsp:sp>
    <dsp:sp modelId="{02EE004D-26FC-47D1-8269-69D20901CA23}">
      <dsp:nvSpPr>
        <dsp:cNvPr id="0" name=""/>
        <dsp:cNvSpPr/>
      </dsp:nvSpPr>
      <dsp:spPr>
        <a:xfrm>
          <a:off x="0" y="648508"/>
          <a:ext cx="8074836" cy="4240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412361-0DD8-455E-ABDC-E515BF65EB9D}">
      <dsp:nvSpPr>
        <dsp:cNvPr id="0" name=""/>
        <dsp:cNvSpPr/>
      </dsp:nvSpPr>
      <dsp:spPr>
        <a:xfrm>
          <a:off x="128269" y="743915"/>
          <a:ext cx="233445" cy="23321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97B8EB0-C577-4054-84C1-818EA38BF5B9}">
      <dsp:nvSpPr>
        <dsp:cNvPr id="0" name=""/>
        <dsp:cNvSpPr/>
      </dsp:nvSpPr>
      <dsp:spPr>
        <a:xfrm>
          <a:off x="489984" y="648508"/>
          <a:ext cx="7533534" cy="5167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693" tIns="54693" rIns="54693" bIns="54693" numCol="1" spcCol="1270" anchor="ctr" anchorCtr="0">
          <a:noAutofit/>
        </a:bodyPr>
        <a:lstStyle/>
        <a:p>
          <a:pPr marL="0" lvl="0" indent="0" algn="l" defTabSz="711200">
            <a:lnSpc>
              <a:spcPct val="100000"/>
            </a:lnSpc>
            <a:spcBef>
              <a:spcPct val="0"/>
            </a:spcBef>
            <a:spcAft>
              <a:spcPct val="35000"/>
            </a:spcAft>
            <a:buNone/>
          </a:pPr>
          <a:r>
            <a:rPr lang="de" sz="1600" b="0" i="0" strike="noStrike" kern="1200" cap="none" spc="0" baseline="0">
              <a:solidFill>
                <a:srgbClr val="000000"/>
              </a:solidFill>
              <a:effectLst/>
              <a:latin typeface="Calibri"/>
              <a:ea typeface="Calibri"/>
              <a:cs typeface="Calibri"/>
            </a:rPr>
            <a:t>Herabstufung</a:t>
          </a:r>
          <a:endParaRPr lang="en-US" kern="1200"/>
        </a:p>
      </dsp:txBody>
      <dsp:txXfrm>
        <a:off x="489984" y="648508"/>
        <a:ext cx="7533534" cy="516788"/>
      </dsp:txXfrm>
    </dsp:sp>
    <dsp:sp modelId="{3951A61D-F069-4616-989D-20A828000FE1}">
      <dsp:nvSpPr>
        <dsp:cNvPr id="0" name=""/>
        <dsp:cNvSpPr/>
      </dsp:nvSpPr>
      <dsp:spPr>
        <a:xfrm>
          <a:off x="0" y="1294493"/>
          <a:ext cx="8074836" cy="4240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2C44930-8854-438D-90B1-22C51B82B008}">
      <dsp:nvSpPr>
        <dsp:cNvPr id="0" name=""/>
        <dsp:cNvSpPr/>
      </dsp:nvSpPr>
      <dsp:spPr>
        <a:xfrm>
          <a:off x="128269" y="1389900"/>
          <a:ext cx="233445" cy="23321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35091B8-29C0-4ABE-8DEC-334A61052E0C}">
      <dsp:nvSpPr>
        <dsp:cNvPr id="0" name=""/>
        <dsp:cNvSpPr/>
      </dsp:nvSpPr>
      <dsp:spPr>
        <a:xfrm>
          <a:off x="489984" y="1294493"/>
          <a:ext cx="7533534" cy="5167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693" tIns="54693" rIns="54693" bIns="54693" numCol="1" spcCol="1270" anchor="ctr" anchorCtr="0">
          <a:noAutofit/>
        </a:bodyPr>
        <a:lstStyle/>
        <a:p>
          <a:pPr marL="0" lvl="0" indent="0" algn="l" defTabSz="711200">
            <a:lnSpc>
              <a:spcPct val="100000"/>
            </a:lnSpc>
            <a:spcBef>
              <a:spcPct val="0"/>
            </a:spcBef>
            <a:spcAft>
              <a:spcPct val="35000"/>
            </a:spcAft>
            <a:buNone/>
          </a:pPr>
          <a:r>
            <a:rPr lang="de" sz="1600" b="0" i="0" strike="noStrike" kern="1200" cap="none" spc="0" baseline="0">
              <a:solidFill>
                <a:srgbClr val="000000"/>
              </a:solidFill>
              <a:effectLst/>
              <a:latin typeface="Calibri"/>
              <a:ea typeface="Calibri"/>
              <a:cs typeface="Calibri"/>
            </a:rPr>
            <a:t>Übertragung</a:t>
          </a:r>
          <a:endParaRPr lang="en-US" kern="1200"/>
        </a:p>
      </dsp:txBody>
      <dsp:txXfrm>
        <a:off x="489984" y="1294493"/>
        <a:ext cx="7533534" cy="516788"/>
      </dsp:txXfrm>
    </dsp:sp>
    <dsp:sp modelId="{2B9FBFC2-2DA2-4537-8E9D-0102188BB8DA}">
      <dsp:nvSpPr>
        <dsp:cNvPr id="0" name=""/>
        <dsp:cNvSpPr/>
      </dsp:nvSpPr>
      <dsp:spPr>
        <a:xfrm>
          <a:off x="0" y="1940479"/>
          <a:ext cx="8074836" cy="4240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98824A6-FCA5-4A1B-9C93-02EBF6CE40C2}">
      <dsp:nvSpPr>
        <dsp:cNvPr id="0" name=""/>
        <dsp:cNvSpPr/>
      </dsp:nvSpPr>
      <dsp:spPr>
        <a:xfrm>
          <a:off x="128269" y="2035886"/>
          <a:ext cx="233445" cy="233217"/>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DB89971-F98F-4B5E-A3E6-D8B427874E72}">
      <dsp:nvSpPr>
        <dsp:cNvPr id="0" name=""/>
        <dsp:cNvSpPr/>
      </dsp:nvSpPr>
      <dsp:spPr>
        <a:xfrm>
          <a:off x="489984" y="1940479"/>
          <a:ext cx="7533534" cy="5167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693" tIns="54693" rIns="54693" bIns="54693" numCol="1" spcCol="1270" anchor="ctr" anchorCtr="0">
          <a:noAutofit/>
        </a:bodyPr>
        <a:lstStyle/>
        <a:p>
          <a:pPr marL="0" lvl="0" indent="0" algn="l" defTabSz="711200">
            <a:lnSpc>
              <a:spcPct val="100000"/>
            </a:lnSpc>
            <a:spcBef>
              <a:spcPct val="0"/>
            </a:spcBef>
            <a:spcAft>
              <a:spcPct val="35000"/>
            </a:spcAft>
            <a:buNone/>
          </a:pPr>
          <a:r>
            <a:rPr lang="de" sz="1600" b="0" i="0" strike="noStrike" kern="1200" cap="none" spc="0" baseline="0">
              <a:solidFill>
                <a:srgbClr val="000000"/>
              </a:solidFill>
              <a:effectLst/>
              <a:latin typeface="Calibri"/>
              <a:ea typeface="Calibri"/>
              <a:cs typeface="Calibri"/>
            </a:rPr>
            <a:t>Weniger günstige Aufgaben oder Arbeitszeiten</a:t>
          </a:r>
          <a:endParaRPr lang="en-US" kern="1200"/>
        </a:p>
      </dsp:txBody>
      <dsp:txXfrm>
        <a:off x="489984" y="1940479"/>
        <a:ext cx="7533534" cy="516788"/>
      </dsp:txXfrm>
    </dsp:sp>
    <dsp:sp modelId="{5A0D2530-66A5-456F-BF2D-18FEAD527C88}">
      <dsp:nvSpPr>
        <dsp:cNvPr id="0" name=""/>
        <dsp:cNvSpPr/>
      </dsp:nvSpPr>
      <dsp:spPr>
        <a:xfrm>
          <a:off x="0" y="2586464"/>
          <a:ext cx="8074836" cy="4240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114D602-97C4-4F4E-85C6-8EC0B97D38A5}">
      <dsp:nvSpPr>
        <dsp:cNvPr id="0" name=""/>
        <dsp:cNvSpPr/>
      </dsp:nvSpPr>
      <dsp:spPr>
        <a:xfrm>
          <a:off x="128269" y="2681871"/>
          <a:ext cx="233445" cy="233217"/>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1E7E8D9-EBEA-4B3C-B1F3-7D20DA711A7B}">
      <dsp:nvSpPr>
        <dsp:cNvPr id="0" name=""/>
        <dsp:cNvSpPr/>
      </dsp:nvSpPr>
      <dsp:spPr>
        <a:xfrm>
          <a:off x="489984" y="2586464"/>
          <a:ext cx="7533534" cy="5167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693" tIns="54693" rIns="54693" bIns="54693" numCol="1" spcCol="1270" anchor="ctr" anchorCtr="0">
          <a:noAutofit/>
        </a:bodyPr>
        <a:lstStyle/>
        <a:p>
          <a:pPr marL="0" lvl="0" indent="0" algn="l" defTabSz="711200">
            <a:lnSpc>
              <a:spcPct val="100000"/>
            </a:lnSpc>
            <a:spcBef>
              <a:spcPct val="0"/>
            </a:spcBef>
            <a:spcAft>
              <a:spcPct val="35000"/>
            </a:spcAft>
            <a:buNone/>
          </a:pPr>
          <a:r>
            <a:rPr lang="de" sz="1600" b="0" i="0" strike="noStrike" kern="1200" cap="none" spc="0" baseline="0">
              <a:solidFill>
                <a:srgbClr val="000000"/>
              </a:solidFill>
              <a:effectLst/>
              <a:latin typeface="Calibri"/>
              <a:ea typeface="Calibri"/>
              <a:cs typeface="Calibri"/>
            </a:rPr>
            <a:t>Durchsickern von Personalakten zur Verunglimpfung oder Diskreditierung eines Opfers oder Zeugen von Diskriminierung</a:t>
          </a:r>
          <a:endParaRPr lang="en-US" kern="1200"/>
        </a:p>
      </dsp:txBody>
      <dsp:txXfrm>
        <a:off x="489984" y="2586464"/>
        <a:ext cx="7533534" cy="516788"/>
      </dsp:txXfrm>
    </dsp:sp>
    <dsp:sp modelId="{82650058-36C7-4EF2-A510-6B2A3BC56CBA}">
      <dsp:nvSpPr>
        <dsp:cNvPr id="0" name=""/>
        <dsp:cNvSpPr/>
      </dsp:nvSpPr>
      <dsp:spPr>
        <a:xfrm>
          <a:off x="0" y="3232450"/>
          <a:ext cx="8074836" cy="4240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72EC3DD-4747-4D08-8080-FEFD01566235}">
      <dsp:nvSpPr>
        <dsp:cNvPr id="0" name=""/>
        <dsp:cNvSpPr/>
      </dsp:nvSpPr>
      <dsp:spPr>
        <a:xfrm>
          <a:off x="128269" y="3327857"/>
          <a:ext cx="233445" cy="233217"/>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D5AEC99-75BD-4251-A255-724AD0F0A785}">
      <dsp:nvSpPr>
        <dsp:cNvPr id="0" name=""/>
        <dsp:cNvSpPr/>
      </dsp:nvSpPr>
      <dsp:spPr>
        <a:xfrm>
          <a:off x="489984" y="3232450"/>
          <a:ext cx="7533534" cy="5167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693" tIns="54693" rIns="54693" bIns="54693" numCol="1" spcCol="1270" anchor="ctr" anchorCtr="0">
          <a:noAutofit/>
        </a:bodyPr>
        <a:lstStyle/>
        <a:p>
          <a:pPr marL="0" lvl="0" indent="0" algn="l" defTabSz="711200">
            <a:lnSpc>
              <a:spcPct val="100000"/>
            </a:lnSpc>
            <a:spcBef>
              <a:spcPct val="0"/>
            </a:spcBef>
            <a:spcAft>
              <a:spcPct val="35000"/>
            </a:spcAft>
            <a:buNone/>
          </a:pPr>
          <a:r>
            <a:rPr lang="de" sz="1600" b="0" i="0" strike="noStrike" kern="1200" cap="none" spc="0" baseline="0">
              <a:solidFill>
                <a:srgbClr val="000000"/>
              </a:solidFill>
              <a:effectLst/>
              <a:latin typeface="Calibri"/>
              <a:ea typeface="Calibri"/>
              <a:cs typeface="Calibri"/>
            </a:rPr>
            <a:t>Von Kollegen gemieden oder benachteiligt werden</a:t>
          </a:r>
          <a:endParaRPr lang="en-US" kern="1200"/>
        </a:p>
      </dsp:txBody>
      <dsp:txXfrm>
        <a:off x="489984" y="3232450"/>
        <a:ext cx="7533534" cy="516788"/>
      </dsp:txXfrm>
    </dsp:sp>
    <dsp:sp modelId="{BE66F222-4B7E-4DCF-98CD-4A27921714C6}">
      <dsp:nvSpPr>
        <dsp:cNvPr id="0" name=""/>
        <dsp:cNvSpPr/>
      </dsp:nvSpPr>
      <dsp:spPr>
        <a:xfrm>
          <a:off x="0" y="3878435"/>
          <a:ext cx="8074836" cy="424031"/>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BDFA904-3FD3-466E-BD6D-472D480E10CF}">
      <dsp:nvSpPr>
        <dsp:cNvPr id="0" name=""/>
        <dsp:cNvSpPr/>
      </dsp:nvSpPr>
      <dsp:spPr>
        <a:xfrm>
          <a:off x="128269" y="3973842"/>
          <a:ext cx="233445" cy="233217"/>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7759015-1B81-45A3-B24B-BC9FC83003A9}">
      <dsp:nvSpPr>
        <dsp:cNvPr id="0" name=""/>
        <dsp:cNvSpPr/>
      </dsp:nvSpPr>
      <dsp:spPr>
        <a:xfrm>
          <a:off x="489984" y="3878435"/>
          <a:ext cx="7533534" cy="5167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4693" tIns="54693" rIns="54693" bIns="54693" numCol="1" spcCol="1270" anchor="ctr" anchorCtr="0">
          <a:noAutofit/>
        </a:bodyPr>
        <a:lstStyle/>
        <a:p>
          <a:pPr marL="0" lvl="0" indent="0" algn="l" defTabSz="711200">
            <a:lnSpc>
              <a:spcPct val="100000"/>
            </a:lnSpc>
            <a:spcBef>
              <a:spcPct val="0"/>
            </a:spcBef>
            <a:spcAft>
              <a:spcPct val="35000"/>
            </a:spcAft>
            <a:buNone/>
          </a:pPr>
          <a:r>
            <a:rPr lang="de" sz="1600" b="0" i="0" strike="noStrike" kern="1200" cap="none" spc="0" baseline="0">
              <a:solidFill>
                <a:srgbClr val="000000"/>
              </a:solidFill>
              <a:effectLst/>
              <a:latin typeface="Calibri"/>
              <a:ea typeface="Calibri"/>
              <a:cs typeface="Calibri"/>
            </a:rPr>
            <a:t>Sabotage durch Kollegen</a:t>
          </a:r>
          <a:endParaRPr lang="en-US" kern="1200"/>
        </a:p>
      </dsp:txBody>
      <dsp:txXfrm>
        <a:off x="489984" y="3878435"/>
        <a:ext cx="7533534" cy="51678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7136BE-66B6-43CA-ABD3-5EC058011C77}">
      <dsp:nvSpPr>
        <dsp:cNvPr id="0" name=""/>
        <dsp:cNvSpPr/>
      </dsp:nvSpPr>
      <dsp:spPr>
        <a:xfrm>
          <a:off x="10400" y="447896"/>
          <a:ext cx="2455498" cy="77409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de" sz="2100" b="0" i="0" strike="noStrike" kern="1200" cap="none" spc="0" baseline="0">
              <a:solidFill>
                <a:srgbClr val="FFFFFF"/>
              </a:solidFill>
              <a:effectLst/>
              <a:latin typeface="Calibri"/>
              <a:ea typeface="Calibri"/>
              <a:cs typeface="Calibri"/>
            </a:rPr>
            <a:t>Belästigung am Arbeitsplatz</a:t>
          </a:r>
          <a:endParaRPr lang="en-GB" kern="1200"/>
        </a:p>
      </dsp:txBody>
      <dsp:txXfrm>
        <a:off x="10400" y="447896"/>
        <a:ext cx="2455498" cy="774090"/>
      </dsp:txXfrm>
    </dsp:sp>
    <dsp:sp modelId="{5A01AD50-A4BE-433F-882C-7262AEE7DECE}">
      <dsp:nvSpPr>
        <dsp:cNvPr id="0" name=""/>
        <dsp:cNvSpPr/>
      </dsp:nvSpPr>
      <dsp:spPr>
        <a:xfrm>
          <a:off x="10400" y="1221986"/>
          <a:ext cx="2455498" cy="317219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ctr" anchorCtr="0">
          <a:noAutofit/>
        </a:bodyPr>
        <a:lstStyle/>
        <a:p>
          <a:pPr marL="228600" lvl="1" indent="-228600" algn="l" defTabSz="933450">
            <a:lnSpc>
              <a:spcPct val="90000"/>
            </a:lnSpc>
            <a:spcBef>
              <a:spcPct val="0"/>
            </a:spcBef>
            <a:spcAft>
              <a:spcPct val="15000"/>
            </a:spcAft>
            <a:buFont typeface="Arial" panose="020B0604020202020204" pitchFamily="34" charset="0"/>
            <a:buChar char="•"/>
          </a:pPr>
          <a:r>
            <a:rPr lang="de" sz="2100" b="0" i="0" strike="noStrike" kern="1200" cap="none" spc="0" baseline="0">
              <a:solidFill>
                <a:srgbClr val="000000"/>
              </a:solidFill>
              <a:effectLst/>
              <a:latin typeface="Calibri"/>
              <a:ea typeface="Calibri"/>
              <a:cs typeface="Calibri"/>
            </a:rPr>
            <a:t>Unerwünschtes oder beleidigendes Verhalten, das auf </a:t>
          </a:r>
          <a:r>
            <a:rPr lang="de" sz="2100" b="0" i="1" strike="noStrike" kern="1200" cap="none" spc="0" baseline="0">
              <a:solidFill>
                <a:srgbClr val="000000"/>
              </a:solidFill>
              <a:effectLst/>
              <a:latin typeface="Calibri"/>
              <a:ea typeface="Calibri"/>
              <a:cs typeface="Calibri"/>
            </a:rPr>
            <a:t>einem </a:t>
          </a:r>
          <a:r>
            <a:rPr lang="de" sz="2100" b="0" i="0" strike="noStrike" kern="1200" cap="none" spc="0" baseline="0">
              <a:solidFill>
                <a:srgbClr val="000000"/>
              </a:solidFill>
              <a:effectLst/>
              <a:latin typeface="Calibri"/>
              <a:ea typeface="Calibri"/>
              <a:cs typeface="Calibri"/>
            </a:rPr>
            <a:t>geschützten Grund basiert.</a:t>
          </a:r>
        </a:p>
      </dsp:txBody>
      <dsp:txXfrm>
        <a:off x="10400" y="1221986"/>
        <a:ext cx="2455498" cy="3172190"/>
      </dsp:txXfrm>
    </dsp:sp>
    <dsp:sp modelId="{88EAAD68-E779-4ABE-A5DA-0983BBEBC27F}">
      <dsp:nvSpPr>
        <dsp:cNvPr id="0" name=""/>
        <dsp:cNvSpPr/>
      </dsp:nvSpPr>
      <dsp:spPr>
        <a:xfrm>
          <a:off x="2809668" y="447896"/>
          <a:ext cx="2455498" cy="77409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de" sz="2100" b="0" i="0" strike="noStrike" kern="1200" cap="none" spc="0" baseline="0">
              <a:solidFill>
                <a:srgbClr val="FFFFFF"/>
              </a:solidFill>
              <a:effectLst/>
              <a:latin typeface="Calibri"/>
              <a:ea typeface="Calibri"/>
              <a:cs typeface="Calibri"/>
            </a:rPr>
            <a:t>Geschützte Böden</a:t>
          </a:r>
          <a:endParaRPr lang="en-GB" kern="1200"/>
        </a:p>
      </dsp:txBody>
      <dsp:txXfrm>
        <a:off x="2809668" y="447896"/>
        <a:ext cx="2455498" cy="774090"/>
      </dsp:txXfrm>
    </dsp:sp>
    <dsp:sp modelId="{E09FF709-B9A1-467B-BBF8-2127A63B2EF3}">
      <dsp:nvSpPr>
        <dsp:cNvPr id="0" name=""/>
        <dsp:cNvSpPr/>
      </dsp:nvSpPr>
      <dsp:spPr>
        <a:xfrm>
          <a:off x="2809668" y="1221986"/>
          <a:ext cx="2455498" cy="317219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ctr" anchorCtr="0">
          <a:noAutofit/>
        </a:bodyPr>
        <a:lstStyle/>
        <a:p>
          <a:pPr marL="171450" lvl="1" indent="-171450" algn="l" defTabSz="800100">
            <a:lnSpc>
              <a:spcPct val="90000"/>
            </a:lnSpc>
            <a:spcBef>
              <a:spcPct val="0"/>
            </a:spcBef>
            <a:spcAft>
              <a:spcPct val="15000"/>
            </a:spcAft>
            <a:buFont typeface="Arial" panose="020B0604020202020204" pitchFamily="34" charset="0"/>
            <a:buChar char="•"/>
          </a:pPr>
          <a:r>
            <a:rPr lang="de" sz="1800" b="0" i="0" strike="noStrike" kern="1200" cap="none" spc="0" baseline="0" dirty="0">
              <a:solidFill>
                <a:srgbClr val="000000"/>
              </a:solidFill>
              <a:effectLst/>
              <a:latin typeface="Calibri"/>
              <a:ea typeface="Calibri"/>
              <a:cs typeface="Calibri"/>
            </a:rPr>
            <a:t>Persönliche Merkmale, die keine Auswirkungen auf die Beschäftigung oder beschäftigungsbezogene Entscheidungen haben dürfen. </a:t>
          </a:r>
        </a:p>
        <a:p>
          <a:pPr marL="171450" lvl="1" indent="-171450" algn="l" defTabSz="800100">
            <a:lnSpc>
              <a:spcPct val="100000"/>
            </a:lnSpc>
            <a:spcBef>
              <a:spcPct val="0"/>
            </a:spcBef>
            <a:spcAft>
              <a:spcPct val="15000"/>
            </a:spcAft>
            <a:buChar char="•"/>
          </a:pPr>
          <a:r>
            <a:rPr lang="de" sz="1800" b="0" i="0" strike="noStrike" kern="1200" cap="none" spc="0" baseline="0" dirty="0">
              <a:solidFill>
                <a:srgbClr val="000000"/>
              </a:solidFill>
              <a:effectLst/>
              <a:latin typeface="Calibri"/>
              <a:ea typeface="Calibri"/>
              <a:cs typeface="Calibri"/>
            </a:rPr>
            <a:t>Menschen können mehr als einen geschützten Boden haben</a:t>
          </a:r>
        </a:p>
      </dsp:txBody>
      <dsp:txXfrm>
        <a:off x="2809668" y="1221986"/>
        <a:ext cx="2455498" cy="3172190"/>
      </dsp:txXfrm>
    </dsp:sp>
    <dsp:sp modelId="{F96EBAB5-2385-44A0-9DAE-378482389753}">
      <dsp:nvSpPr>
        <dsp:cNvPr id="0" name=""/>
        <dsp:cNvSpPr/>
      </dsp:nvSpPr>
      <dsp:spPr>
        <a:xfrm>
          <a:off x="5608937" y="447896"/>
          <a:ext cx="2455498" cy="77409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49352" tIns="85344" rIns="149352" bIns="85344" numCol="1" spcCol="1270" anchor="ctr" anchorCtr="0">
          <a:noAutofit/>
        </a:bodyPr>
        <a:lstStyle/>
        <a:p>
          <a:pPr marL="0" lvl="0" indent="0" algn="ctr" defTabSz="933450">
            <a:lnSpc>
              <a:spcPct val="90000"/>
            </a:lnSpc>
            <a:spcBef>
              <a:spcPct val="0"/>
            </a:spcBef>
            <a:spcAft>
              <a:spcPct val="35000"/>
            </a:spcAft>
            <a:buNone/>
          </a:pPr>
          <a:r>
            <a:rPr lang="de" sz="2100" b="0" i="0" strike="noStrike" kern="1200" cap="none" spc="0" baseline="0">
              <a:solidFill>
                <a:srgbClr val="FFFFFF"/>
              </a:solidFill>
              <a:effectLst/>
              <a:latin typeface="Calibri"/>
              <a:ea typeface="Calibri"/>
              <a:cs typeface="Calibri"/>
            </a:rPr>
            <a:t>Intersektionelles Verhalten</a:t>
          </a:r>
          <a:endParaRPr lang="en-GB" kern="1200"/>
        </a:p>
      </dsp:txBody>
      <dsp:txXfrm>
        <a:off x="5608937" y="447896"/>
        <a:ext cx="2455498" cy="774090"/>
      </dsp:txXfrm>
    </dsp:sp>
    <dsp:sp modelId="{205221B7-809E-408A-8761-924C5606E944}">
      <dsp:nvSpPr>
        <dsp:cNvPr id="0" name=""/>
        <dsp:cNvSpPr/>
      </dsp:nvSpPr>
      <dsp:spPr>
        <a:xfrm>
          <a:off x="5608937" y="1221986"/>
          <a:ext cx="2455498" cy="3172190"/>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2014" tIns="112014" rIns="149352" bIns="168021" numCol="1" spcCol="1270" anchor="ctr" anchorCtr="0">
          <a:noAutofit/>
        </a:bodyPr>
        <a:lstStyle/>
        <a:p>
          <a:pPr marL="228600" lvl="1" indent="-228600" algn="l" defTabSz="933450">
            <a:lnSpc>
              <a:spcPct val="90000"/>
            </a:lnSpc>
            <a:spcBef>
              <a:spcPct val="0"/>
            </a:spcBef>
            <a:spcAft>
              <a:spcPct val="15000"/>
            </a:spcAft>
            <a:buFont typeface="Arial" panose="020B0604020202020204" pitchFamily="34" charset="0"/>
            <a:buChar char="•"/>
          </a:pPr>
          <a:r>
            <a:rPr lang="de" sz="2100" b="0" i="0" strike="noStrike" kern="1200" cap="none" spc="0" baseline="0">
              <a:solidFill>
                <a:srgbClr val="000000"/>
              </a:solidFill>
              <a:effectLst/>
              <a:latin typeface="Calibri"/>
              <a:ea typeface="Calibri"/>
              <a:cs typeface="Calibri"/>
            </a:rPr>
            <a:t>Unangemessenes Verhalten, das auf mehr als einen geschützten Boden abzielt.</a:t>
          </a:r>
        </a:p>
        <a:p>
          <a:pPr marL="285750" lvl="1" indent="-285750" algn="l" defTabSz="1600200">
            <a:lnSpc>
              <a:spcPct val="100000"/>
            </a:lnSpc>
            <a:spcBef>
              <a:spcPct val="0"/>
            </a:spcBef>
            <a:spcAft>
              <a:spcPct val="15000"/>
            </a:spcAft>
            <a:buNone/>
          </a:pPr>
          <a:endParaRPr lang="en-GB" sz="3600" kern="1200"/>
        </a:p>
      </dsp:txBody>
      <dsp:txXfrm>
        <a:off x="5608937" y="1221986"/>
        <a:ext cx="2455498" cy="31721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56F062-E831-4C9D-8295-EBD859E85986}">
      <dsp:nvSpPr>
        <dsp:cNvPr id="0" name=""/>
        <dsp:cNvSpPr/>
      </dsp:nvSpPr>
      <dsp:spPr>
        <a:xfrm>
          <a:off x="2390" y="104515"/>
          <a:ext cx="1896268" cy="1137760"/>
        </a:xfrm>
        <a:prstGeom prst="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 sz="1500" b="0" i="0" strike="noStrike" kern="1200" cap="none" spc="0" baseline="0">
              <a:solidFill>
                <a:srgbClr val="FFFFFF"/>
              </a:solidFill>
              <a:effectLst/>
              <a:latin typeface="Calibri"/>
              <a:ea typeface="Calibri"/>
              <a:cs typeface="Calibri"/>
            </a:rPr>
            <a:t>Alter (ab 40)</a:t>
          </a:r>
          <a:endParaRPr lang="en-US" kern="1200"/>
        </a:p>
      </dsp:txBody>
      <dsp:txXfrm>
        <a:off x="2390" y="104515"/>
        <a:ext cx="1896268" cy="1137760"/>
      </dsp:txXfrm>
    </dsp:sp>
    <dsp:sp modelId="{314BF5E9-6D32-4139-B1EF-52F90BD3589D}">
      <dsp:nvSpPr>
        <dsp:cNvPr id="0" name=""/>
        <dsp:cNvSpPr/>
      </dsp:nvSpPr>
      <dsp:spPr>
        <a:xfrm>
          <a:off x="2088285" y="104515"/>
          <a:ext cx="1896268" cy="1137760"/>
        </a:xfrm>
        <a:prstGeom prst="rect">
          <a:avLst/>
        </a:prstGeom>
        <a:solidFill>
          <a:schemeClr val="accent1">
            <a:shade val="80000"/>
            <a:hueOff val="24660"/>
            <a:satOff val="470"/>
            <a:lumOff val="207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 sz="1500" b="0" i="0" strike="noStrike" kern="1200" cap="none" spc="0" baseline="0">
              <a:solidFill>
                <a:srgbClr val="FFFFFF"/>
              </a:solidFill>
              <a:effectLst/>
              <a:latin typeface="Calibri"/>
              <a:ea typeface="Calibri"/>
              <a:cs typeface="Calibri"/>
            </a:rPr>
            <a:t>Rasse/Farbe</a:t>
          </a:r>
          <a:endParaRPr lang="en-US" kern="1200"/>
        </a:p>
      </dsp:txBody>
      <dsp:txXfrm>
        <a:off x="2088285" y="104515"/>
        <a:ext cx="1896268" cy="1137760"/>
      </dsp:txXfrm>
    </dsp:sp>
    <dsp:sp modelId="{65B48DC4-277D-4510-87DB-C69F1B7D6DD3}">
      <dsp:nvSpPr>
        <dsp:cNvPr id="0" name=""/>
        <dsp:cNvSpPr/>
      </dsp:nvSpPr>
      <dsp:spPr>
        <a:xfrm>
          <a:off x="4174180" y="104515"/>
          <a:ext cx="1896268" cy="1137760"/>
        </a:xfrm>
        <a:prstGeom prst="rect">
          <a:avLst/>
        </a:prstGeom>
        <a:solidFill>
          <a:schemeClr val="accent1">
            <a:shade val="80000"/>
            <a:hueOff val="49321"/>
            <a:satOff val="941"/>
            <a:lumOff val="415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 sz="1500" b="0" i="0" strike="noStrike" kern="1200" cap="none" spc="0" baseline="0">
              <a:solidFill>
                <a:srgbClr val="FFFFFF"/>
              </a:solidFill>
              <a:effectLst/>
              <a:latin typeface="Calibri"/>
              <a:ea typeface="Calibri"/>
              <a:cs typeface="Calibri"/>
            </a:rPr>
            <a:t>Nationale Herkunft / Staatsbürgerschaft</a:t>
          </a:r>
          <a:endParaRPr lang="en-US" kern="1200"/>
        </a:p>
      </dsp:txBody>
      <dsp:txXfrm>
        <a:off x="4174180" y="104515"/>
        <a:ext cx="1896268" cy="1137760"/>
      </dsp:txXfrm>
    </dsp:sp>
    <dsp:sp modelId="{C28451D7-32EE-4871-A93E-B1ABC49EF3AC}">
      <dsp:nvSpPr>
        <dsp:cNvPr id="0" name=""/>
        <dsp:cNvSpPr/>
      </dsp:nvSpPr>
      <dsp:spPr>
        <a:xfrm>
          <a:off x="6260075" y="104515"/>
          <a:ext cx="1896268" cy="1137760"/>
        </a:xfrm>
        <a:prstGeom prst="rect">
          <a:avLst/>
        </a:prstGeom>
        <a:solidFill>
          <a:schemeClr val="accent1">
            <a:shade val="80000"/>
            <a:hueOff val="73981"/>
            <a:satOff val="1411"/>
            <a:lumOff val="623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 sz="1500" b="0" i="0" strike="noStrike" kern="1200" cap="none" spc="0" baseline="0">
              <a:solidFill>
                <a:srgbClr val="FFFFFF"/>
              </a:solidFill>
              <a:effectLst/>
              <a:latin typeface="Calibri"/>
              <a:ea typeface="Calibri"/>
              <a:cs typeface="Calibri"/>
            </a:rPr>
            <a:t>Genetische Informationen</a:t>
          </a:r>
          <a:endParaRPr lang="en-US" kern="1200"/>
        </a:p>
      </dsp:txBody>
      <dsp:txXfrm>
        <a:off x="6260075" y="104515"/>
        <a:ext cx="1896268" cy="1137760"/>
      </dsp:txXfrm>
    </dsp:sp>
    <dsp:sp modelId="{B97059E4-569B-439D-ACCE-C703E8EBB9E0}">
      <dsp:nvSpPr>
        <dsp:cNvPr id="0" name=""/>
        <dsp:cNvSpPr/>
      </dsp:nvSpPr>
      <dsp:spPr>
        <a:xfrm>
          <a:off x="2390" y="1431903"/>
          <a:ext cx="1896268" cy="1137760"/>
        </a:xfrm>
        <a:prstGeom prst="rect">
          <a:avLst/>
        </a:prstGeom>
        <a:solidFill>
          <a:schemeClr val="accent1">
            <a:shade val="80000"/>
            <a:hueOff val="98641"/>
            <a:satOff val="1882"/>
            <a:lumOff val="83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 sz="1500" b="0" i="0" strike="noStrike" kern="1200" cap="none" spc="0" baseline="0">
              <a:solidFill>
                <a:srgbClr val="FFFFFF"/>
              </a:solidFill>
              <a:effectLst/>
              <a:latin typeface="Calibri"/>
              <a:ea typeface="Calibri"/>
              <a:cs typeface="Calibri"/>
            </a:rPr>
            <a:t>Sprache</a:t>
          </a:r>
          <a:endParaRPr lang="en-US" kern="1200"/>
        </a:p>
      </dsp:txBody>
      <dsp:txXfrm>
        <a:off x="2390" y="1431903"/>
        <a:ext cx="1896268" cy="1137760"/>
      </dsp:txXfrm>
    </dsp:sp>
    <dsp:sp modelId="{1C95E413-6173-413A-912F-7DA1BB34D98F}">
      <dsp:nvSpPr>
        <dsp:cNvPr id="0" name=""/>
        <dsp:cNvSpPr/>
      </dsp:nvSpPr>
      <dsp:spPr>
        <a:xfrm>
          <a:off x="2088285" y="1431903"/>
          <a:ext cx="1896268" cy="1137760"/>
        </a:xfrm>
        <a:prstGeom prst="rect">
          <a:avLst/>
        </a:prstGeom>
        <a:solidFill>
          <a:schemeClr val="accent1">
            <a:shade val="80000"/>
            <a:hueOff val="123302"/>
            <a:satOff val="2352"/>
            <a:lumOff val="1038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 sz="1500" b="0" i="0" strike="noStrike" kern="1200" cap="none" spc="0" baseline="0">
              <a:solidFill>
                <a:srgbClr val="FFFFFF"/>
              </a:solidFill>
              <a:effectLst/>
              <a:latin typeface="Calibri"/>
              <a:ea typeface="Calibri"/>
              <a:cs typeface="Calibri"/>
            </a:rPr>
            <a:t>Religion oder Glauben</a:t>
          </a:r>
          <a:endParaRPr lang="en-US" kern="1200"/>
        </a:p>
      </dsp:txBody>
      <dsp:txXfrm>
        <a:off x="2088285" y="1431903"/>
        <a:ext cx="1896268" cy="1137760"/>
      </dsp:txXfrm>
    </dsp:sp>
    <dsp:sp modelId="{A26D54B5-B4E7-40E8-9B74-824A0E4BCFBB}">
      <dsp:nvSpPr>
        <dsp:cNvPr id="0" name=""/>
        <dsp:cNvSpPr/>
      </dsp:nvSpPr>
      <dsp:spPr>
        <a:xfrm>
          <a:off x="4174180" y="1431903"/>
          <a:ext cx="1896268" cy="1137760"/>
        </a:xfrm>
        <a:prstGeom prst="rect">
          <a:avLst/>
        </a:prstGeom>
        <a:solidFill>
          <a:schemeClr val="accent1">
            <a:shade val="80000"/>
            <a:hueOff val="147962"/>
            <a:satOff val="2823"/>
            <a:lumOff val="1246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 sz="1500" b="0" i="0" strike="noStrike" kern="1200" cap="none" spc="0" baseline="0">
              <a:solidFill>
                <a:srgbClr val="FFFFFF"/>
              </a:solidFill>
              <a:effectLst/>
              <a:latin typeface="Calibri"/>
              <a:ea typeface="Calibri"/>
              <a:cs typeface="Calibri"/>
            </a:rPr>
            <a:t>Politische Ideen oder Ideen der Gewerkschaft</a:t>
          </a:r>
          <a:endParaRPr lang="en-US" kern="1200"/>
        </a:p>
      </dsp:txBody>
      <dsp:txXfrm>
        <a:off x="4174180" y="1431903"/>
        <a:ext cx="1896268" cy="1137760"/>
      </dsp:txXfrm>
    </dsp:sp>
    <dsp:sp modelId="{00672C99-BC32-447E-BE26-36407AA2BDB2}">
      <dsp:nvSpPr>
        <dsp:cNvPr id="0" name=""/>
        <dsp:cNvSpPr/>
      </dsp:nvSpPr>
      <dsp:spPr>
        <a:xfrm>
          <a:off x="6260075" y="1431903"/>
          <a:ext cx="1896268" cy="1137760"/>
        </a:xfrm>
        <a:prstGeom prst="rect">
          <a:avLst/>
        </a:prstGeom>
        <a:solidFill>
          <a:schemeClr val="accent1">
            <a:shade val="80000"/>
            <a:hueOff val="172622"/>
            <a:satOff val="3293"/>
            <a:lumOff val="1454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 sz="1500" b="0" i="0" strike="noStrike" kern="1200" cap="none" spc="0" baseline="0">
              <a:solidFill>
                <a:srgbClr val="FFFFFF"/>
              </a:solidFill>
              <a:effectLst/>
              <a:latin typeface="Calibri"/>
              <a:ea typeface="Calibri"/>
              <a:cs typeface="Calibri"/>
            </a:rPr>
            <a:t>Veteranenstatus</a:t>
          </a:r>
          <a:endParaRPr lang="en-US" kern="1200"/>
        </a:p>
      </dsp:txBody>
      <dsp:txXfrm>
        <a:off x="6260075" y="1431903"/>
        <a:ext cx="1896268" cy="1137760"/>
      </dsp:txXfrm>
    </dsp:sp>
    <dsp:sp modelId="{4CCD97D0-30AC-4C6D-BD06-F8D29050925E}">
      <dsp:nvSpPr>
        <dsp:cNvPr id="0" name=""/>
        <dsp:cNvSpPr/>
      </dsp:nvSpPr>
      <dsp:spPr>
        <a:xfrm>
          <a:off x="2390" y="2759291"/>
          <a:ext cx="1896268" cy="1137760"/>
        </a:xfrm>
        <a:prstGeom prst="rect">
          <a:avLst/>
        </a:prstGeom>
        <a:solidFill>
          <a:schemeClr val="accent1">
            <a:shade val="80000"/>
            <a:hueOff val="197282"/>
            <a:satOff val="3764"/>
            <a:lumOff val="166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 sz="1500" b="0" i="0" strike="noStrike" kern="1200" cap="none" spc="0" baseline="0">
              <a:solidFill>
                <a:srgbClr val="FFFFFF"/>
              </a:solidFill>
              <a:effectLst/>
              <a:latin typeface="Calibri"/>
              <a:ea typeface="Calibri"/>
              <a:cs typeface="Calibri"/>
            </a:rPr>
            <a:t>Geschlecht (einschließlich Schwangerschaft/Geburt)</a:t>
          </a:r>
        </a:p>
      </dsp:txBody>
      <dsp:txXfrm>
        <a:off x="2390" y="2759291"/>
        <a:ext cx="1896268" cy="1137760"/>
      </dsp:txXfrm>
    </dsp:sp>
    <dsp:sp modelId="{483AB9CE-7E99-4641-8A28-E74959ABA064}">
      <dsp:nvSpPr>
        <dsp:cNvPr id="0" name=""/>
        <dsp:cNvSpPr/>
      </dsp:nvSpPr>
      <dsp:spPr>
        <a:xfrm>
          <a:off x="2088285" y="2759291"/>
          <a:ext cx="1896268" cy="1137760"/>
        </a:xfrm>
        <a:prstGeom prst="rect">
          <a:avLst/>
        </a:prstGeom>
        <a:solidFill>
          <a:schemeClr val="accent1">
            <a:shade val="80000"/>
            <a:hueOff val="221943"/>
            <a:satOff val="4234"/>
            <a:lumOff val="1870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 sz="1500" b="0" i="0" strike="noStrike" kern="1200" cap="none" spc="0" baseline="0">
              <a:solidFill>
                <a:srgbClr val="FFFFFF"/>
              </a:solidFill>
              <a:effectLst/>
              <a:latin typeface="Calibri"/>
              <a:ea typeface="Calibri"/>
              <a:cs typeface="Calibri"/>
            </a:rPr>
            <a:t>Geschlechtsidentität</a:t>
          </a:r>
          <a:endParaRPr lang="en-US" kern="1200"/>
        </a:p>
      </dsp:txBody>
      <dsp:txXfrm>
        <a:off x="2088285" y="2759291"/>
        <a:ext cx="1896268" cy="1137760"/>
      </dsp:txXfrm>
    </dsp:sp>
    <dsp:sp modelId="{EAD55615-8E89-44DC-83A8-7C3F87D1D88C}">
      <dsp:nvSpPr>
        <dsp:cNvPr id="0" name=""/>
        <dsp:cNvSpPr/>
      </dsp:nvSpPr>
      <dsp:spPr>
        <a:xfrm>
          <a:off x="4174180" y="2759291"/>
          <a:ext cx="1896268" cy="1137760"/>
        </a:xfrm>
        <a:prstGeom prst="rect">
          <a:avLst/>
        </a:prstGeom>
        <a:solidFill>
          <a:schemeClr val="accent1">
            <a:shade val="80000"/>
            <a:hueOff val="246603"/>
            <a:satOff val="4705"/>
            <a:lumOff val="2077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 sz="1500" b="0" i="0" strike="noStrike" kern="1200" cap="none" spc="0" baseline="0">
              <a:solidFill>
                <a:srgbClr val="FFFFFF"/>
              </a:solidFill>
              <a:effectLst/>
              <a:latin typeface="Calibri"/>
              <a:ea typeface="Calibri"/>
              <a:cs typeface="Calibri"/>
            </a:rPr>
            <a:t>Körperliche oder geistige Behinderung </a:t>
          </a:r>
          <a:endParaRPr lang="en-US" kern="1200"/>
        </a:p>
      </dsp:txBody>
      <dsp:txXfrm>
        <a:off x="4174180" y="2759291"/>
        <a:ext cx="1896268" cy="1137760"/>
      </dsp:txXfrm>
    </dsp:sp>
    <dsp:sp modelId="{498343EC-04AC-4CAD-8B5E-ABC16ACC2F20}">
      <dsp:nvSpPr>
        <dsp:cNvPr id="0" name=""/>
        <dsp:cNvSpPr/>
      </dsp:nvSpPr>
      <dsp:spPr>
        <a:xfrm>
          <a:off x="6260075" y="2759291"/>
          <a:ext cx="1896268" cy="1137760"/>
        </a:xfrm>
        <a:prstGeom prst="rect">
          <a:avLst/>
        </a:prstGeom>
        <a:solidFill>
          <a:schemeClr val="accent1">
            <a:shade val="80000"/>
            <a:hueOff val="271263"/>
            <a:satOff val="5175"/>
            <a:lumOff val="2285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 sz="1500" b="0" i="0" strike="noStrike" kern="1200" cap="none" spc="0" baseline="0">
              <a:solidFill>
                <a:srgbClr val="FFFFFF"/>
              </a:solidFill>
              <a:effectLst/>
              <a:latin typeface="Calibri"/>
              <a:ea typeface="Calibri"/>
              <a:cs typeface="Calibri"/>
            </a:rPr>
            <a:t>Sexuelle Orientierung</a:t>
          </a:r>
          <a:endParaRPr lang="en-US" kern="1200"/>
        </a:p>
      </dsp:txBody>
      <dsp:txXfrm>
        <a:off x="6260075" y="2759291"/>
        <a:ext cx="1896268" cy="113776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682F32-5C4B-42CE-AEF9-AB56A3FF7419}">
      <dsp:nvSpPr>
        <dsp:cNvPr id="0" name=""/>
        <dsp:cNvSpPr/>
      </dsp:nvSpPr>
      <dsp:spPr>
        <a:xfrm>
          <a:off x="2980" y="788"/>
          <a:ext cx="8068874" cy="231227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de" sz="2800" b="1" i="0" u="sng" strike="noStrike" kern="1200" cap="none" spc="0" baseline="0">
              <a:solidFill>
                <a:srgbClr val="FFFFFF"/>
              </a:solidFill>
              <a:effectLst/>
              <a:uFill>
                <a:solidFill>
                  <a:srgbClr val="FFFFFF"/>
                </a:solidFill>
              </a:uFill>
              <a:latin typeface="Calibri"/>
              <a:ea typeface="Calibri"/>
              <a:cs typeface="Calibri"/>
            </a:rPr>
            <a:t>Sexuelle Belästigung </a:t>
          </a:r>
          <a:r>
            <a:rPr lang="de" sz="2800" b="0" i="0" strike="noStrike" kern="1200" cap="none" spc="0" baseline="0">
              <a:solidFill>
                <a:srgbClr val="FFFFFF"/>
              </a:solidFill>
              <a:effectLst/>
              <a:latin typeface="Calibri"/>
              <a:ea typeface="Calibri"/>
              <a:cs typeface="Calibri"/>
            </a:rPr>
            <a:t>ist unerwünschtes verbales, nonverbales oder körperliches Verhalten sexueller Natur, das die Würde einer Person verletzt.</a:t>
          </a:r>
        </a:p>
        <a:p>
          <a:pPr marL="0" lvl="0" indent="0" algn="ctr" defTabSz="1244600">
            <a:lnSpc>
              <a:spcPct val="90000"/>
            </a:lnSpc>
            <a:spcBef>
              <a:spcPct val="0"/>
            </a:spcBef>
            <a:spcAft>
              <a:spcPct val="35000"/>
            </a:spcAft>
            <a:buNone/>
          </a:pPr>
          <a:r>
            <a:rPr lang="de" sz="2800" b="0" i="0" strike="noStrike" kern="1200" cap="none" spc="0" baseline="0">
              <a:solidFill>
                <a:srgbClr val="FFFFFF"/>
              </a:solidFill>
              <a:effectLst/>
              <a:latin typeface="Calibri"/>
              <a:ea typeface="Calibri"/>
              <a:cs typeface="Calibri"/>
            </a:rPr>
            <a:t> Es gibt zwei verschiedene Arten sexueller Belästigung:</a:t>
          </a:r>
          <a:endParaRPr lang="en-US" kern="1200"/>
        </a:p>
      </dsp:txBody>
      <dsp:txXfrm>
        <a:off x="70704" y="68512"/>
        <a:ext cx="7933426" cy="2176831"/>
      </dsp:txXfrm>
    </dsp:sp>
    <dsp:sp modelId="{2BBD0B2E-4BE4-48AC-A125-1761F93E54D0}">
      <dsp:nvSpPr>
        <dsp:cNvPr id="0" name=""/>
        <dsp:cNvSpPr/>
      </dsp:nvSpPr>
      <dsp:spPr>
        <a:xfrm>
          <a:off x="2980" y="2529006"/>
          <a:ext cx="3871820" cy="231227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 sz="1400" b="1" i="0" u="sng" strike="noStrike" kern="1200" cap="none" spc="0" baseline="0">
              <a:solidFill>
                <a:srgbClr val="FFFFFF"/>
              </a:solidFill>
              <a:effectLst/>
              <a:uFill>
                <a:solidFill>
                  <a:srgbClr val="FFFFFF"/>
                </a:solidFill>
              </a:uFill>
              <a:latin typeface="Calibri"/>
              <a:ea typeface="Calibri"/>
              <a:cs typeface="Calibri"/>
            </a:rPr>
            <a:t>Pro-Quote aufgeben</a:t>
          </a:r>
          <a:endParaRPr lang="en-GB" kern="1200">
            <a:solidFill>
              <a:srgbClr val="FF0000"/>
            </a:solidFill>
          </a:endParaRPr>
        </a:p>
        <a:p>
          <a:pPr marL="0" lvl="0" indent="0" algn="ctr" defTabSz="622300">
            <a:lnSpc>
              <a:spcPct val="90000"/>
            </a:lnSpc>
            <a:spcBef>
              <a:spcPct val="0"/>
            </a:spcBef>
            <a:spcAft>
              <a:spcPct val="35000"/>
            </a:spcAft>
            <a:buNone/>
          </a:pPr>
          <a:r>
            <a:rPr lang="de" sz="1400" b="0" i="0" strike="noStrike" kern="1200" cap="none" spc="0" baseline="0">
              <a:solidFill>
                <a:srgbClr val="FFFFFF"/>
              </a:solidFill>
              <a:effectLst/>
              <a:latin typeface="Calibri"/>
              <a:ea typeface="Calibri"/>
              <a:cs typeface="Calibri"/>
            </a:rPr>
            <a:t>Quid Pro Quo ist lateinisch und bedeutet „für das“ und bedeutet, dass Arbeitsentscheidungen darauf basieren, ob jemand unerwünschtes sexuelles Verhalten akzeptiert oder ablehnt.</a:t>
          </a:r>
        </a:p>
        <a:p>
          <a:pPr marL="0" lvl="0" indent="0" algn="ctr" defTabSz="622300">
            <a:lnSpc>
              <a:spcPct val="90000"/>
            </a:lnSpc>
            <a:spcBef>
              <a:spcPct val="0"/>
            </a:spcBef>
            <a:spcAft>
              <a:spcPct val="35000"/>
            </a:spcAft>
            <a:buNone/>
          </a:pPr>
          <a:r>
            <a:rPr lang="de" sz="1400" b="0" i="0" strike="noStrike" kern="1200" cap="none" spc="0" baseline="0">
              <a:solidFill>
                <a:srgbClr val="FFFFFF"/>
              </a:solidFill>
              <a:effectLst/>
              <a:latin typeface="Calibri"/>
              <a:ea typeface="Calibri"/>
              <a:cs typeface="Calibri"/>
            </a:rPr>
            <a:t> Es kann sich um sexuelles, intimes oder romantisches Verhalten handeln.</a:t>
          </a:r>
        </a:p>
        <a:p>
          <a:pPr marL="0" lvl="0" indent="0" algn="ctr" defTabSz="622300">
            <a:lnSpc>
              <a:spcPct val="90000"/>
            </a:lnSpc>
            <a:spcBef>
              <a:spcPct val="0"/>
            </a:spcBef>
            <a:spcAft>
              <a:spcPct val="35000"/>
            </a:spcAft>
            <a:buNone/>
          </a:pPr>
          <a:r>
            <a:rPr lang="de" sz="1400" b="0" i="0" strike="noStrike" kern="1200" cap="none" spc="0" baseline="0">
              <a:solidFill>
                <a:srgbClr val="FFFFFF"/>
              </a:solidFill>
              <a:effectLst/>
              <a:latin typeface="Calibri"/>
              <a:ea typeface="Calibri"/>
              <a:cs typeface="Calibri"/>
            </a:rPr>
            <a:t> Es bezieht immer Manager oder andere in Autoritätspositionen ein. </a:t>
          </a:r>
          <a:endParaRPr lang="en-US" kern="1200"/>
        </a:p>
      </dsp:txBody>
      <dsp:txXfrm>
        <a:off x="70704" y="2596730"/>
        <a:ext cx="3736372" cy="2176831"/>
      </dsp:txXfrm>
    </dsp:sp>
    <dsp:sp modelId="{88F1ABA4-3573-4291-80C5-CCCD060891F4}">
      <dsp:nvSpPr>
        <dsp:cNvPr id="0" name=""/>
        <dsp:cNvSpPr/>
      </dsp:nvSpPr>
      <dsp:spPr>
        <a:xfrm>
          <a:off x="4200034" y="2529006"/>
          <a:ext cx="3871820" cy="2312279"/>
        </a:xfrm>
        <a:prstGeom prst="roundRect">
          <a:avLst>
            <a:gd name="adj" fmla="val 10000"/>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 sz="1400" b="1" i="0" u="sng" strike="noStrike" kern="1200" cap="none" spc="0" baseline="0">
              <a:solidFill>
                <a:srgbClr val="FFFFFF"/>
              </a:solidFill>
              <a:effectLst/>
              <a:uFill>
                <a:solidFill>
                  <a:srgbClr val="FFFFFF"/>
                </a:solidFill>
              </a:uFill>
              <a:latin typeface="Calibri"/>
              <a:ea typeface="Calibri"/>
              <a:cs typeface="Calibri"/>
            </a:rPr>
            <a:t>Feindseliges Arbeitsumfeld</a:t>
          </a:r>
          <a:r>
            <a:rPr lang="de" sz="1400" b="0" i="0" strike="noStrike" kern="1200" cap="none" spc="0" baseline="0">
              <a:solidFill>
                <a:srgbClr val="FF0000"/>
              </a:solidFill>
              <a:effectLst/>
              <a:latin typeface="Calibri"/>
              <a:ea typeface="Calibri"/>
              <a:cs typeface="Calibri"/>
            </a:rPr>
            <a:t> </a:t>
          </a:r>
        </a:p>
        <a:p>
          <a:pPr marL="0" lvl="0" indent="0" algn="ctr" defTabSz="622300">
            <a:lnSpc>
              <a:spcPct val="90000"/>
            </a:lnSpc>
            <a:spcBef>
              <a:spcPct val="0"/>
            </a:spcBef>
            <a:spcAft>
              <a:spcPct val="35000"/>
            </a:spcAft>
            <a:buNone/>
          </a:pPr>
          <a:r>
            <a:rPr lang="de" sz="1400" b="0" i="0" strike="noStrike" kern="1200" cap="none" spc="0" baseline="0">
              <a:solidFill>
                <a:srgbClr val="FFFFFF"/>
              </a:solidFill>
              <a:effectLst/>
              <a:latin typeface="Calibri"/>
              <a:ea typeface="Calibri"/>
              <a:cs typeface="Calibri"/>
            </a:rPr>
            <a:t>Unerwünschtes Verhalten, das ein einschüchterndes, feindseliges, erniedrigendes, demütigendes oder beleidigendes Arbeitsumfeld schafft. </a:t>
          </a:r>
        </a:p>
        <a:p>
          <a:pPr marL="0" lvl="0" indent="0" algn="ctr" defTabSz="622300">
            <a:lnSpc>
              <a:spcPct val="90000"/>
            </a:lnSpc>
            <a:spcBef>
              <a:spcPct val="0"/>
            </a:spcBef>
            <a:spcAft>
              <a:spcPct val="35000"/>
            </a:spcAft>
            <a:buNone/>
          </a:pPr>
          <a:r>
            <a:rPr lang="de" sz="1400" b="0" i="0" strike="noStrike" kern="1200" cap="none" spc="0" baseline="0">
              <a:solidFill>
                <a:srgbClr val="FFFFFF"/>
              </a:solidFill>
              <a:effectLst/>
              <a:latin typeface="Calibri"/>
              <a:ea typeface="Calibri"/>
              <a:cs typeface="Calibri"/>
            </a:rPr>
            <a:t>Kann verbales, visuelles, physisches, digitales oder schriftliches Verhalten sein. </a:t>
          </a:r>
        </a:p>
        <a:p>
          <a:pPr marL="0" lvl="0" indent="0" algn="ctr" defTabSz="622300">
            <a:lnSpc>
              <a:spcPct val="90000"/>
            </a:lnSpc>
            <a:spcBef>
              <a:spcPct val="0"/>
            </a:spcBef>
            <a:spcAft>
              <a:spcPct val="35000"/>
            </a:spcAft>
            <a:buNone/>
          </a:pPr>
          <a:r>
            <a:rPr lang="de" sz="1400" b="0" i="0" strike="noStrike" kern="1200" cap="none" spc="0" baseline="0">
              <a:solidFill>
                <a:srgbClr val="FFFFFF"/>
              </a:solidFill>
              <a:effectLst/>
              <a:latin typeface="Calibri"/>
              <a:ea typeface="Calibri"/>
              <a:cs typeface="Calibri"/>
            </a:rPr>
            <a:t>Jeder – nicht nur jemand in einer Autoritätsposition – kann sich an dieser Art von rechtswidrigem Verhalten beteiligen. </a:t>
          </a:r>
          <a:endParaRPr lang="en-US" kern="1200"/>
        </a:p>
      </dsp:txBody>
      <dsp:txXfrm>
        <a:off x="4267758" y="2596730"/>
        <a:ext cx="3736372" cy="217683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48B920-B1E0-4886-9BA5-B1554C666682}">
      <dsp:nvSpPr>
        <dsp:cNvPr id="0" name=""/>
        <dsp:cNvSpPr/>
      </dsp:nvSpPr>
      <dsp:spPr>
        <a:xfrm>
          <a:off x="0" y="3056"/>
          <a:ext cx="3886200" cy="181218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de" sz="3200" b="0" i="0" strike="noStrike" kern="1200" cap="none" spc="0" baseline="0">
              <a:solidFill>
                <a:srgbClr val="FFFFFF"/>
              </a:solidFill>
              <a:effectLst/>
              <a:latin typeface="Calibri"/>
              <a:ea typeface="Calibri"/>
              <a:cs typeface="Calibri"/>
            </a:rPr>
            <a:t>Eine feindselige Arbeitsumgebung kann Folgendes umfassen:</a:t>
          </a:r>
          <a:endParaRPr lang="en-US" kern="1200"/>
        </a:p>
      </dsp:txBody>
      <dsp:txXfrm>
        <a:off x="88464" y="91520"/>
        <a:ext cx="3709272" cy="1635257"/>
      </dsp:txXfrm>
    </dsp:sp>
    <dsp:sp modelId="{7652FA92-FF02-4F9E-A627-EE14DD86AB00}">
      <dsp:nvSpPr>
        <dsp:cNvPr id="0" name=""/>
        <dsp:cNvSpPr/>
      </dsp:nvSpPr>
      <dsp:spPr>
        <a:xfrm>
          <a:off x="0" y="1815242"/>
          <a:ext cx="3886200" cy="15049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3387" tIns="31750" rIns="177800" bIns="31750" numCol="1" spcCol="1270" anchor="t" anchorCtr="0">
          <a:noAutofit/>
        </a:bodyPr>
        <a:lstStyle/>
        <a:p>
          <a:pPr marL="228600" lvl="1" indent="-228600" algn="l" defTabSz="1111250">
            <a:lnSpc>
              <a:spcPct val="90000"/>
            </a:lnSpc>
            <a:spcBef>
              <a:spcPct val="0"/>
            </a:spcBef>
            <a:spcAft>
              <a:spcPct val="20000"/>
            </a:spcAft>
            <a:buChar char="•"/>
          </a:pPr>
          <a:r>
            <a:rPr lang="de" sz="2500" b="0" i="0" strike="noStrike" kern="1200" cap="none" spc="0" baseline="0">
              <a:solidFill>
                <a:srgbClr val="000000"/>
              </a:solidFill>
              <a:effectLst/>
              <a:latin typeface="Calibri"/>
              <a:ea typeface="Calibri"/>
              <a:cs typeface="Calibri"/>
            </a:rPr>
            <a:t>Ein einzelner, schwerwiegender Vorfall</a:t>
          </a:r>
          <a:endParaRPr lang="en-US" kern="1200"/>
        </a:p>
        <a:p>
          <a:pPr marL="228600" lvl="1" indent="-228600" algn="l" defTabSz="1111250">
            <a:lnSpc>
              <a:spcPct val="90000"/>
            </a:lnSpc>
            <a:spcBef>
              <a:spcPct val="0"/>
            </a:spcBef>
            <a:spcAft>
              <a:spcPct val="20000"/>
            </a:spcAft>
            <a:buChar char="•"/>
          </a:pPr>
          <a:r>
            <a:rPr lang="de" sz="2500" b="0" i="0" strike="noStrike" kern="1200" cap="none" spc="0" baseline="0">
              <a:solidFill>
                <a:srgbClr val="000000"/>
              </a:solidFill>
              <a:effectLst/>
              <a:latin typeface="Calibri"/>
              <a:ea typeface="Calibri"/>
              <a:cs typeface="Calibri"/>
            </a:rPr>
            <a:t>Ein Muster kleinerer Vorfälle, die sich im Laufe der Zeit entwickeln</a:t>
          </a:r>
          <a:endParaRPr lang="en-US" kern="1200"/>
        </a:p>
      </dsp:txBody>
      <dsp:txXfrm>
        <a:off x="0" y="1815242"/>
        <a:ext cx="3886200" cy="1504939"/>
      </dsp:txXfrm>
    </dsp:sp>
    <dsp:sp modelId="{33BCEC26-C14D-4C1B-A0A8-57892C4646B9}">
      <dsp:nvSpPr>
        <dsp:cNvPr id="0" name=""/>
        <dsp:cNvSpPr/>
      </dsp:nvSpPr>
      <dsp:spPr>
        <a:xfrm>
          <a:off x="0" y="3320181"/>
          <a:ext cx="3886200" cy="181218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de" sz="3200" b="0" i="0" strike="noStrike" kern="1200" cap="none" spc="0" baseline="0">
              <a:solidFill>
                <a:srgbClr val="FFFFFF"/>
              </a:solidFill>
              <a:effectLst/>
              <a:latin typeface="Calibri"/>
              <a:ea typeface="Calibri"/>
              <a:cs typeface="Calibri"/>
            </a:rPr>
            <a:t>Ein Verhaltensmuster kann für andere unsichtbar sein </a:t>
          </a:r>
          <a:endParaRPr lang="en-US" kern="1200"/>
        </a:p>
      </dsp:txBody>
      <dsp:txXfrm>
        <a:off x="88464" y="3408645"/>
        <a:ext cx="3709272" cy="163525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DE4789-F2C4-48F7-AD1A-1BC4182425B9}">
      <dsp:nvSpPr>
        <dsp:cNvPr id="0" name=""/>
        <dsp:cNvSpPr/>
      </dsp:nvSpPr>
      <dsp:spPr>
        <a:xfrm>
          <a:off x="745187" y="1247"/>
          <a:ext cx="6584460" cy="2008260"/>
        </a:xfrm>
        <a:prstGeom prst="rect">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de" sz="2800" b="0" i="0" strike="noStrike" kern="1200" cap="none" spc="0" baseline="0" dirty="0">
              <a:solidFill>
                <a:srgbClr val="FFFFFF"/>
              </a:solidFill>
              <a:effectLst/>
              <a:latin typeface="Calibri"/>
              <a:ea typeface="Calibri"/>
              <a:cs typeface="Calibri"/>
            </a:rPr>
            <a:t>Geschlechterstereotypen sind vorgefasste Ideen darüber, wie jemand basierend auf seinem Geschlecht sein, handeln oder sich verhalten sollte</a:t>
          </a:r>
          <a:r>
            <a:rPr lang="de" sz="3500" b="0" i="0" strike="noStrike" kern="1200" cap="none" spc="0" baseline="0" dirty="0">
              <a:solidFill>
                <a:srgbClr val="FFFFFF"/>
              </a:solidFill>
              <a:effectLst/>
              <a:latin typeface="Calibri"/>
              <a:ea typeface="Calibri"/>
              <a:cs typeface="Calibri"/>
            </a:rPr>
            <a:t>. </a:t>
          </a:r>
          <a:endParaRPr lang="en-US" sz="3150" kern="1200" dirty="0"/>
        </a:p>
      </dsp:txBody>
      <dsp:txXfrm>
        <a:off x="745187" y="1247"/>
        <a:ext cx="6584460" cy="2008260"/>
      </dsp:txXfrm>
    </dsp:sp>
    <dsp:sp modelId="{C106FE37-78FC-4B91-AB63-2959EC40C132}">
      <dsp:nvSpPr>
        <dsp:cNvPr id="0" name=""/>
        <dsp:cNvSpPr/>
      </dsp:nvSpPr>
      <dsp:spPr>
        <a:xfrm>
          <a:off x="745187" y="2832565"/>
          <a:ext cx="6584460" cy="2008260"/>
        </a:xfrm>
        <a:prstGeom prst="rect">
          <a:avLst/>
        </a:prstGeom>
        <a:gradFill rotWithShape="0">
          <a:gsLst>
            <a:gs pos="0">
              <a:schemeClr val="accent1">
                <a:shade val="80000"/>
                <a:hueOff val="0"/>
                <a:satOff val="0"/>
                <a:lumOff val="0"/>
                <a:alphaOff val="0"/>
                <a:satMod val="103000"/>
                <a:lumMod val="102000"/>
                <a:tint val="94000"/>
              </a:schemeClr>
            </a:gs>
            <a:gs pos="50000">
              <a:schemeClr val="accent1">
                <a:shade val="80000"/>
                <a:hueOff val="0"/>
                <a:satOff val="0"/>
                <a:lumOff val="0"/>
                <a:alphaOff val="0"/>
                <a:satMod val="110000"/>
                <a:lumMod val="100000"/>
                <a:shade val="100000"/>
              </a:schemeClr>
            </a:gs>
            <a:gs pos="100000">
              <a:schemeClr val="accent1">
                <a:shade val="8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r>
            <a:rPr lang="de" sz="2800" b="0" i="0" strike="noStrike" kern="1200" cap="none" spc="0" baseline="0" dirty="0">
              <a:solidFill>
                <a:srgbClr val="FFFFFF"/>
              </a:solidFill>
              <a:effectLst/>
              <a:latin typeface="Calibri"/>
              <a:ea typeface="Calibri"/>
              <a:cs typeface="Calibri"/>
            </a:rPr>
            <a:t>Zum Beispiel: Sie bitten </a:t>
          </a:r>
          <a:r>
            <a:rPr lang="de" sz="2800" b="0" i="0" u="sng" strike="noStrike" kern="1200" cap="none" spc="0" baseline="0" dirty="0">
              <a:solidFill>
                <a:srgbClr val="FFFFFF"/>
              </a:solidFill>
              <a:effectLst/>
              <a:uFill>
                <a:solidFill>
                  <a:srgbClr val="FFFFFF"/>
                </a:solidFill>
              </a:uFill>
              <a:latin typeface="Calibri"/>
              <a:ea typeface="Calibri"/>
              <a:cs typeface="Calibri"/>
            </a:rPr>
            <a:t>nur</a:t>
          </a:r>
          <a:r>
            <a:rPr lang="de" sz="2800" b="0" i="0" strike="noStrike" kern="1200" cap="none" spc="0" baseline="0" dirty="0">
              <a:solidFill>
                <a:srgbClr val="FFFFFF"/>
              </a:solidFill>
              <a:effectLst/>
              <a:latin typeface="Calibri"/>
              <a:ea typeface="Calibri"/>
              <a:cs typeface="Calibri"/>
            </a:rPr>
            <a:t> weibliche Mitarbeiter, Kaffee und Snacks für den Konferenzraum für das bevorstehende Meeting zu erhalten</a:t>
          </a:r>
          <a:r>
            <a:rPr lang="de" sz="3500" b="0" i="0" strike="noStrike" kern="1200" cap="none" spc="0" baseline="0" dirty="0">
              <a:solidFill>
                <a:srgbClr val="FFFFFF"/>
              </a:solidFill>
              <a:effectLst/>
              <a:latin typeface="Calibri"/>
              <a:ea typeface="Calibri"/>
              <a:cs typeface="Calibri"/>
            </a:rPr>
            <a:t>.</a:t>
          </a:r>
          <a:endParaRPr lang="en-US" sz="3150" kern="1200" dirty="0"/>
        </a:p>
      </dsp:txBody>
      <dsp:txXfrm>
        <a:off x="745187" y="2832565"/>
        <a:ext cx="6584460" cy="200826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61FA31-D264-43EA-875B-A2B7B8E7012B}">
      <dsp:nvSpPr>
        <dsp:cNvPr id="0" name=""/>
        <dsp:cNvSpPr/>
      </dsp:nvSpPr>
      <dsp:spPr>
        <a:xfrm>
          <a:off x="0" y="622433"/>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de" sz="3200" b="0" i="0" strike="noStrike" kern="1200" cap="none" spc="0" baseline="0" dirty="0">
              <a:solidFill>
                <a:srgbClr val="FFFFFF"/>
              </a:solidFill>
              <a:effectLst/>
              <a:latin typeface="Calibri"/>
              <a:ea typeface="Calibri"/>
              <a:cs typeface="Calibri"/>
            </a:rPr>
            <a:t>Vorgesetzte</a:t>
          </a:r>
          <a:endParaRPr lang="en-US" sz="3200" kern="1200" dirty="0"/>
        </a:p>
      </dsp:txBody>
      <dsp:txXfrm>
        <a:off x="0" y="622433"/>
        <a:ext cx="2458164" cy="1474898"/>
      </dsp:txXfrm>
    </dsp:sp>
    <dsp:sp modelId="{4573CE03-A660-44F7-B0C8-0BF6532B8A05}">
      <dsp:nvSpPr>
        <dsp:cNvPr id="0" name=""/>
        <dsp:cNvSpPr/>
      </dsp:nvSpPr>
      <dsp:spPr>
        <a:xfrm>
          <a:off x="2703980" y="622433"/>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de" sz="3600" b="0" i="0" strike="noStrike" kern="1200" cap="none" spc="0" baseline="0">
              <a:solidFill>
                <a:srgbClr val="FFFFFF"/>
              </a:solidFill>
              <a:effectLst/>
              <a:latin typeface="Calibri"/>
              <a:ea typeface="Calibri"/>
              <a:cs typeface="Calibri"/>
            </a:rPr>
            <a:t>Manager</a:t>
          </a:r>
          <a:endParaRPr lang="en-US" kern="1200"/>
        </a:p>
      </dsp:txBody>
      <dsp:txXfrm>
        <a:off x="2703980" y="622433"/>
        <a:ext cx="2458164" cy="1474898"/>
      </dsp:txXfrm>
    </dsp:sp>
    <dsp:sp modelId="{7D292785-63DD-40E5-BF38-3BDE0B2D1FB7}">
      <dsp:nvSpPr>
        <dsp:cNvPr id="0" name=""/>
        <dsp:cNvSpPr/>
      </dsp:nvSpPr>
      <dsp:spPr>
        <a:xfrm>
          <a:off x="5407961" y="622433"/>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de" sz="3600" b="0" i="0" strike="noStrike" kern="1200" cap="none" spc="0" baseline="0">
              <a:solidFill>
                <a:srgbClr val="FFFFFF"/>
              </a:solidFill>
              <a:effectLst/>
              <a:latin typeface="Calibri"/>
              <a:ea typeface="Calibri"/>
              <a:cs typeface="Calibri"/>
            </a:rPr>
            <a:t>Kollegen</a:t>
          </a:r>
          <a:endParaRPr lang="en-US" kern="1200"/>
        </a:p>
      </dsp:txBody>
      <dsp:txXfrm>
        <a:off x="5407961" y="622433"/>
        <a:ext cx="2458164" cy="1474898"/>
      </dsp:txXfrm>
    </dsp:sp>
    <dsp:sp modelId="{8E5F5894-71D7-4AD0-AB3F-825397E67428}">
      <dsp:nvSpPr>
        <dsp:cNvPr id="0" name=""/>
        <dsp:cNvSpPr/>
      </dsp:nvSpPr>
      <dsp:spPr>
        <a:xfrm>
          <a:off x="0" y="2343148"/>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de" sz="3600" b="0" i="0" strike="noStrike" kern="1200" cap="none" spc="0" baseline="0">
              <a:solidFill>
                <a:srgbClr val="FFFFFF"/>
              </a:solidFill>
              <a:effectLst/>
              <a:latin typeface="Calibri"/>
              <a:ea typeface="Calibri"/>
              <a:cs typeface="Calibri"/>
            </a:rPr>
            <a:t>Lieferanten</a:t>
          </a:r>
          <a:endParaRPr lang="en-US" kern="1200"/>
        </a:p>
      </dsp:txBody>
      <dsp:txXfrm>
        <a:off x="0" y="2343148"/>
        <a:ext cx="2458164" cy="1474898"/>
      </dsp:txXfrm>
    </dsp:sp>
    <dsp:sp modelId="{41438514-9CE3-4267-8433-2A509C733917}">
      <dsp:nvSpPr>
        <dsp:cNvPr id="0" name=""/>
        <dsp:cNvSpPr/>
      </dsp:nvSpPr>
      <dsp:spPr>
        <a:xfrm>
          <a:off x="2703980" y="2343148"/>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de" sz="3600" b="0" i="0" strike="noStrike" kern="1200" cap="none" spc="0" baseline="0">
              <a:solidFill>
                <a:srgbClr val="FFFFFF"/>
              </a:solidFill>
              <a:effectLst/>
              <a:latin typeface="Calibri"/>
              <a:ea typeface="Calibri"/>
              <a:cs typeface="Calibri"/>
            </a:rPr>
            <a:t>Kunden</a:t>
          </a:r>
          <a:endParaRPr lang="en-US" kern="1200"/>
        </a:p>
      </dsp:txBody>
      <dsp:txXfrm>
        <a:off x="2703980" y="2343148"/>
        <a:ext cx="2458164" cy="1474898"/>
      </dsp:txXfrm>
    </dsp:sp>
    <dsp:sp modelId="{CD7FF0B3-454C-4F5A-9542-9E88E96578B7}">
      <dsp:nvSpPr>
        <dsp:cNvPr id="0" name=""/>
        <dsp:cNvSpPr/>
      </dsp:nvSpPr>
      <dsp:spPr>
        <a:xfrm>
          <a:off x="5407961" y="2343148"/>
          <a:ext cx="2458164" cy="1474898"/>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de" sz="2800" b="0" i="0" strike="noStrike" kern="1200" cap="none" spc="0" baseline="0" dirty="0">
              <a:solidFill>
                <a:srgbClr val="FFFFFF"/>
              </a:solidFill>
              <a:effectLst/>
              <a:latin typeface="Calibri"/>
              <a:ea typeface="Calibri"/>
              <a:cs typeface="Calibri"/>
            </a:rPr>
            <a:t>Auftragnehmer</a:t>
          </a:r>
          <a:endParaRPr lang="en-US" sz="2800" kern="1200" dirty="0"/>
        </a:p>
      </dsp:txBody>
      <dsp:txXfrm>
        <a:off x="5407961" y="2343148"/>
        <a:ext cx="2458164" cy="147489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286E4F-7206-4C05-AD55-DC212A1A5DC4}">
      <dsp:nvSpPr>
        <dsp:cNvPr id="0" name=""/>
        <dsp:cNvSpPr/>
      </dsp:nvSpPr>
      <dsp:spPr>
        <a:xfrm>
          <a:off x="864" y="338878"/>
          <a:ext cx="3372691" cy="14619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 sz="1600" b="0" i="0" strike="noStrike" kern="1200" cap="none" spc="0" baseline="0">
              <a:solidFill>
                <a:srgbClr val="FFFFFF"/>
              </a:solidFill>
              <a:effectLst/>
              <a:latin typeface="Calibri"/>
              <a:ea typeface="Calibri"/>
              <a:cs typeface="Calibri"/>
            </a:rPr>
            <a:t>Visuelles Verhalten </a:t>
          </a:r>
        </a:p>
        <a:p>
          <a:pPr marL="171450" lvl="1" indent="-171450" algn="l" defTabSz="711200">
            <a:lnSpc>
              <a:spcPct val="90000"/>
            </a:lnSpc>
            <a:spcBef>
              <a:spcPct val="0"/>
            </a:spcBef>
            <a:spcAft>
              <a:spcPct val="15000"/>
            </a:spcAft>
            <a:buChar char="•"/>
          </a:pPr>
          <a:r>
            <a:rPr lang="de" sz="1600" b="0" i="0" strike="noStrike" kern="1200" cap="none" spc="0" baseline="0">
              <a:solidFill>
                <a:srgbClr val="FFFFFF"/>
              </a:solidFill>
              <a:effectLst/>
              <a:latin typeface="Calibri"/>
              <a:ea typeface="Calibri"/>
              <a:cs typeface="Calibri"/>
            </a:rPr>
            <a:t>Leerstellen, sexuelle Gesten machen</a:t>
          </a:r>
        </a:p>
        <a:p>
          <a:pPr marL="171450" lvl="1" indent="-171450" algn="l" defTabSz="711200">
            <a:lnSpc>
              <a:spcPct val="90000"/>
            </a:lnSpc>
            <a:spcBef>
              <a:spcPct val="0"/>
            </a:spcBef>
            <a:spcAft>
              <a:spcPct val="15000"/>
            </a:spcAft>
            <a:buChar char="•"/>
          </a:pPr>
          <a:r>
            <a:rPr lang="de" sz="1600" b="0" i="0" strike="noStrike" kern="1200" cap="none" spc="0" baseline="0">
              <a:solidFill>
                <a:srgbClr val="FFFFFF"/>
              </a:solidFill>
              <a:effectLst/>
              <a:latin typeface="Calibri"/>
              <a:ea typeface="Calibri"/>
              <a:cs typeface="Calibri"/>
            </a:rPr>
            <a:t>Anzeige von suggestiven Objekten, Bildern, Cartoons oder Postern in Druckform oder digital</a:t>
          </a:r>
        </a:p>
      </dsp:txBody>
      <dsp:txXfrm>
        <a:off x="864" y="338878"/>
        <a:ext cx="3372691" cy="1461940"/>
      </dsp:txXfrm>
    </dsp:sp>
    <dsp:sp modelId="{988B99C9-8C3B-43DD-B195-DE7699CD3887}">
      <dsp:nvSpPr>
        <dsp:cNvPr id="0" name=""/>
        <dsp:cNvSpPr/>
      </dsp:nvSpPr>
      <dsp:spPr>
        <a:xfrm>
          <a:off x="3710825" y="338878"/>
          <a:ext cx="3372691" cy="146194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 sz="1600" b="0" i="0" strike="noStrike" kern="1200" cap="none" spc="0" baseline="0">
              <a:solidFill>
                <a:srgbClr val="FFFFFF"/>
              </a:solidFill>
              <a:effectLst/>
              <a:latin typeface="Calibri"/>
              <a:ea typeface="Calibri"/>
              <a:cs typeface="Calibri"/>
            </a:rPr>
            <a:t>Körperliches Verhalten</a:t>
          </a:r>
        </a:p>
        <a:p>
          <a:pPr marL="171450" lvl="1" indent="-171450" algn="l" defTabSz="711200">
            <a:lnSpc>
              <a:spcPct val="90000"/>
            </a:lnSpc>
            <a:spcBef>
              <a:spcPct val="0"/>
            </a:spcBef>
            <a:spcAft>
              <a:spcPct val="15000"/>
            </a:spcAft>
            <a:buChar char="•"/>
          </a:pPr>
          <a:r>
            <a:rPr lang="de" sz="1600" b="0" i="0" strike="noStrike" kern="1200" cap="none" spc="0" baseline="0">
              <a:solidFill>
                <a:srgbClr val="FFFFFF"/>
              </a:solidFill>
              <a:effectLst/>
              <a:latin typeface="Calibri"/>
              <a:ea typeface="Calibri"/>
              <a:cs typeface="Calibri"/>
            </a:rPr>
            <a:t>Berühren, Umarmen oder Massagen</a:t>
          </a:r>
        </a:p>
        <a:p>
          <a:pPr marL="171450" lvl="1" indent="-171450" algn="l" defTabSz="711200">
            <a:lnSpc>
              <a:spcPct val="90000"/>
            </a:lnSpc>
            <a:spcBef>
              <a:spcPct val="0"/>
            </a:spcBef>
            <a:spcAft>
              <a:spcPct val="15000"/>
            </a:spcAft>
            <a:buChar char="•"/>
          </a:pPr>
          <a:r>
            <a:rPr lang="de" sz="1600" b="0" i="0" strike="noStrike" kern="1200" cap="none" spc="0" baseline="0">
              <a:solidFill>
                <a:srgbClr val="FFFFFF"/>
              </a:solidFill>
              <a:effectLst/>
              <a:latin typeface="Calibri"/>
              <a:ea typeface="Calibri"/>
              <a:cs typeface="Calibri"/>
            </a:rPr>
            <a:t>Angriff</a:t>
          </a:r>
        </a:p>
        <a:p>
          <a:pPr marL="171450" lvl="1" indent="-171450" algn="l" defTabSz="711200">
            <a:lnSpc>
              <a:spcPct val="90000"/>
            </a:lnSpc>
            <a:spcBef>
              <a:spcPct val="0"/>
            </a:spcBef>
            <a:spcAft>
              <a:spcPct val="15000"/>
            </a:spcAft>
            <a:buChar char="•"/>
          </a:pPr>
          <a:r>
            <a:rPr lang="de" sz="1600" b="0" i="0" strike="noStrike" kern="1200" cap="none" spc="0" baseline="0">
              <a:solidFill>
                <a:srgbClr val="FFFFFF"/>
              </a:solidFill>
              <a:effectLst/>
              <a:latin typeface="Calibri"/>
              <a:ea typeface="Calibri"/>
              <a:cs typeface="Calibri"/>
            </a:rPr>
            <a:t>Behinderung oder Blockierung der Bewegung </a:t>
          </a:r>
        </a:p>
      </dsp:txBody>
      <dsp:txXfrm>
        <a:off x="3710825" y="338878"/>
        <a:ext cx="3372691" cy="1461940"/>
      </dsp:txXfrm>
    </dsp:sp>
    <dsp:sp modelId="{66092D74-200C-439C-BC45-FB0319721481}">
      <dsp:nvSpPr>
        <dsp:cNvPr id="0" name=""/>
        <dsp:cNvSpPr/>
      </dsp:nvSpPr>
      <dsp:spPr>
        <a:xfrm>
          <a:off x="488269" y="2138087"/>
          <a:ext cx="6107842" cy="215185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 sz="1600" b="0" i="0" strike="noStrike" kern="1200" cap="none" spc="0" baseline="0">
              <a:solidFill>
                <a:srgbClr val="FFFFFF"/>
              </a:solidFill>
              <a:effectLst/>
              <a:latin typeface="Calibri"/>
              <a:ea typeface="Calibri"/>
              <a:cs typeface="Calibri"/>
            </a:rPr>
            <a:t>Verbales Verhalten </a:t>
          </a:r>
        </a:p>
        <a:p>
          <a:pPr marL="171450" lvl="1" indent="-171450" algn="l" defTabSz="711200">
            <a:lnSpc>
              <a:spcPct val="90000"/>
            </a:lnSpc>
            <a:spcBef>
              <a:spcPct val="0"/>
            </a:spcBef>
            <a:spcAft>
              <a:spcPct val="15000"/>
            </a:spcAft>
            <a:buChar char="•"/>
          </a:pPr>
          <a:r>
            <a:rPr lang="de" sz="1600" b="0" i="0" strike="noStrike" kern="1200" cap="none" spc="0" baseline="0">
              <a:solidFill>
                <a:srgbClr val="FFFFFF"/>
              </a:solidFill>
              <a:effectLst/>
              <a:latin typeface="Calibri"/>
              <a:ea typeface="Calibri"/>
              <a:cs typeface="Calibri"/>
            </a:rPr>
            <a:t>Abfällige Kommentare, Verunglimpfungen oder Witze persönlich oder durch SMS, E-Mails oder Nachrichten machen oder verwenden</a:t>
          </a:r>
        </a:p>
        <a:p>
          <a:pPr marL="171450" lvl="1" indent="-171450" algn="l" defTabSz="711200">
            <a:lnSpc>
              <a:spcPct val="90000"/>
            </a:lnSpc>
            <a:spcBef>
              <a:spcPct val="0"/>
            </a:spcBef>
            <a:spcAft>
              <a:spcPct val="15000"/>
            </a:spcAft>
            <a:buChar char="•"/>
          </a:pPr>
          <a:r>
            <a:rPr lang="de" sz="1600" b="0" i="0" strike="noStrike" kern="1200" cap="none" spc="0" baseline="0">
              <a:solidFill>
                <a:srgbClr val="FFFFFF"/>
              </a:solidFill>
              <a:effectLst/>
              <a:latin typeface="Calibri"/>
              <a:ea typeface="Calibri"/>
              <a:cs typeface="Calibri"/>
            </a:rPr>
            <a:t>Verbale sexuelle Annäherungen oder Vorschläge</a:t>
          </a:r>
        </a:p>
        <a:p>
          <a:pPr marL="171450" lvl="1" indent="-171450" algn="l" defTabSz="711200">
            <a:lnSpc>
              <a:spcPct val="90000"/>
            </a:lnSpc>
            <a:spcBef>
              <a:spcPct val="0"/>
            </a:spcBef>
            <a:spcAft>
              <a:spcPct val="15000"/>
            </a:spcAft>
            <a:buChar char="•"/>
          </a:pPr>
          <a:r>
            <a:rPr lang="de" sz="1600" b="0" i="0" strike="noStrike" kern="1200" cap="none" spc="0" baseline="0">
              <a:solidFill>
                <a:srgbClr val="FFFFFF"/>
              </a:solidFill>
              <a:effectLst/>
              <a:latin typeface="Calibri"/>
              <a:ea typeface="Calibri"/>
              <a:cs typeface="Calibri"/>
            </a:rPr>
            <a:t>Verbaler Missbrauch sexueller Natur</a:t>
          </a:r>
        </a:p>
        <a:p>
          <a:pPr marL="171450" lvl="1" indent="-171450" algn="l" defTabSz="711200">
            <a:lnSpc>
              <a:spcPct val="90000"/>
            </a:lnSpc>
            <a:spcBef>
              <a:spcPct val="0"/>
            </a:spcBef>
            <a:spcAft>
              <a:spcPct val="15000"/>
            </a:spcAft>
            <a:buChar char="•"/>
          </a:pPr>
          <a:r>
            <a:rPr lang="de" sz="1600" b="0" i="0" strike="noStrike" kern="1200" cap="none" spc="0" baseline="0">
              <a:solidFill>
                <a:srgbClr val="FFFFFF"/>
              </a:solidFill>
              <a:effectLst/>
              <a:latin typeface="Calibri"/>
              <a:ea typeface="Calibri"/>
              <a:cs typeface="Calibri"/>
            </a:rPr>
            <a:t>Grafische verbale Kommentare über den Körper einer Person</a:t>
          </a:r>
        </a:p>
        <a:p>
          <a:pPr marL="171450" lvl="1" indent="-171450" algn="l" defTabSz="711200">
            <a:lnSpc>
              <a:spcPct val="90000"/>
            </a:lnSpc>
            <a:spcBef>
              <a:spcPct val="0"/>
            </a:spcBef>
            <a:spcAft>
              <a:spcPct val="15000"/>
            </a:spcAft>
            <a:buChar char="•"/>
          </a:pPr>
          <a:r>
            <a:rPr lang="de" sz="1600" b="0" i="0" strike="noStrike" kern="1200" cap="none" spc="0" baseline="0" dirty="0">
              <a:solidFill>
                <a:srgbClr val="FFFFFF"/>
              </a:solidFill>
              <a:effectLst/>
              <a:latin typeface="Calibri"/>
              <a:ea typeface="Calibri"/>
              <a:cs typeface="Calibri"/>
            </a:rPr>
            <a:t>Sexuell erniedrigende Wörter, die verwendet werden, um eine Person, suggestive oder obszöne Briefe, Notizen oder Einladungen zu beschreiben</a:t>
          </a:r>
        </a:p>
      </dsp:txBody>
      <dsp:txXfrm>
        <a:off x="488269" y="2138087"/>
        <a:ext cx="6107842" cy="215185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9A27DE-1A9D-4CFC-BE2E-D6325D4C73B2}">
      <dsp:nvSpPr>
        <dsp:cNvPr id="0" name=""/>
        <dsp:cNvSpPr/>
      </dsp:nvSpPr>
      <dsp:spPr>
        <a:xfrm>
          <a:off x="825827" y="248221"/>
          <a:ext cx="658916" cy="65891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9FCE879-EDA8-4A56-B9E8-3934B4682EB9}">
      <dsp:nvSpPr>
        <dsp:cNvPr id="0" name=""/>
        <dsp:cNvSpPr/>
      </dsp:nvSpPr>
      <dsp:spPr>
        <a:xfrm>
          <a:off x="423156" y="1135665"/>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de" sz="1700" b="0" i="0" strike="noStrike" kern="1200" cap="none" spc="0" baseline="0">
              <a:solidFill>
                <a:srgbClr val="000000"/>
              </a:solidFill>
              <a:effectLst/>
              <a:latin typeface="Calibri"/>
              <a:ea typeface="Calibri"/>
              <a:cs typeface="Calibri"/>
            </a:rPr>
            <a:t>Virtuelle Interaktionen</a:t>
          </a:r>
          <a:endParaRPr lang="en-US" kern="1200"/>
        </a:p>
      </dsp:txBody>
      <dsp:txXfrm>
        <a:off x="423156" y="1135665"/>
        <a:ext cx="1464257" cy="585703"/>
      </dsp:txXfrm>
    </dsp:sp>
    <dsp:sp modelId="{B02E9D7E-F6E6-43AD-AAC9-B8DAE5007E4C}">
      <dsp:nvSpPr>
        <dsp:cNvPr id="0" name=""/>
        <dsp:cNvSpPr/>
      </dsp:nvSpPr>
      <dsp:spPr>
        <a:xfrm>
          <a:off x="2546329" y="248221"/>
          <a:ext cx="658916" cy="658916"/>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645D0FB-691D-4DD1-A770-EFD951B22D94}">
      <dsp:nvSpPr>
        <dsp:cNvPr id="0" name=""/>
        <dsp:cNvSpPr/>
      </dsp:nvSpPr>
      <dsp:spPr>
        <a:xfrm>
          <a:off x="2143659" y="1135665"/>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de" sz="1700" b="0" i="0" strike="noStrike" kern="1200" cap="none" spc="0" baseline="0">
              <a:solidFill>
                <a:srgbClr val="000000"/>
              </a:solidFill>
              <a:effectLst/>
              <a:latin typeface="Calibri"/>
              <a:ea typeface="Calibri"/>
              <a:cs typeface="Calibri"/>
            </a:rPr>
            <a:t>Feiertags-Partys</a:t>
          </a:r>
          <a:endParaRPr lang="en-US" kern="1200"/>
        </a:p>
      </dsp:txBody>
      <dsp:txXfrm>
        <a:off x="2143659" y="1135665"/>
        <a:ext cx="1464257" cy="585703"/>
      </dsp:txXfrm>
    </dsp:sp>
    <dsp:sp modelId="{4E3EF8FC-D81C-4C6A-806C-EA4743F4BA77}">
      <dsp:nvSpPr>
        <dsp:cNvPr id="0" name=""/>
        <dsp:cNvSpPr/>
      </dsp:nvSpPr>
      <dsp:spPr>
        <a:xfrm>
          <a:off x="4266832" y="248221"/>
          <a:ext cx="658916" cy="658916"/>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55E8662-2533-42D8-B4B8-521917D7DEAC}">
      <dsp:nvSpPr>
        <dsp:cNvPr id="0" name=""/>
        <dsp:cNvSpPr/>
      </dsp:nvSpPr>
      <dsp:spPr>
        <a:xfrm>
          <a:off x="3864162" y="1135665"/>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de" sz="1700" b="0" i="0" strike="noStrike" kern="1200" cap="none" spc="0" baseline="0">
              <a:solidFill>
                <a:srgbClr val="000000"/>
              </a:solidFill>
              <a:effectLst/>
              <a:latin typeface="Calibri"/>
              <a:ea typeface="Calibri"/>
              <a:cs typeface="Calibri"/>
            </a:rPr>
            <a:t>Mahlzeiten</a:t>
          </a:r>
          <a:endParaRPr lang="en-US" kern="1200"/>
        </a:p>
      </dsp:txBody>
      <dsp:txXfrm>
        <a:off x="3864162" y="1135665"/>
        <a:ext cx="1464257" cy="585703"/>
      </dsp:txXfrm>
    </dsp:sp>
    <dsp:sp modelId="{57CC4C62-BD4B-45BD-83D8-0A29B71FFADD}">
      <dsp:nvSpPr>
        <dsp:cNvPr id="0" name=""/>
        <dsp:cNvSpPr/>
      </dsp:nvSpPr>
      <dsp:spPr>
        <a:xfrm>
          <a:off x="886967" y="2162332"/>
          <a:ext cx="658916" cy="658916"/>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247C313-91DA-4206-839D-B34E91EFC201}">
      <dsp:nvSpPr>
        <dsp:cNvPr id="0" name=""/>
        <dsp:cNvSpPr/>
      </dsp:nvSpPr>
      <dsp:spPr>
        <a:xfrm>
          <a:off x="475488" y="2939635"/>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de" sz="1700" b="0" i="0" strike="noStrike" kern="1200" cap="none" spc="0" baseline="0">
              <a:solidFill>
                <a:srgbClr val="000000"/>
              </a:solidFill>
              <a:effectLst/>
              <a:latin typeface="Calibri"/>
              <a:ea typeface="Calibri"/>
              <a:cs typeface="Calibri"/>
            </a:rPr>
            <a:t>Konferenzen und Messen</a:t>
          </a:r>
          <a:endParaRPr lang="en-US" kern="1200"/>
        </a:p>
      </dsp:txBody>
      <dsp:txXfrm>
        <a:off x="475488" y="2939635"/>
        <a:ext cx="1464257" cy="585703"/>
      </dsp:txXfrm>
    </dsp:sp>
    <dsp:sp modelId="{E86A0C04-E9B4-4015-A6A8-3FB1046B29CE}">
      <dsp:nvSpPr>
        <dsp:cNvPr id="0" name=""/>
        <dsp:cNvSpPr/>
      </dsp:nvSpPr>
      <dsp:spPr>
        <a:xfrm>
          <a:off x="2546329" y="2087433"/>
          <a:ext cx="658916" cy="658916"/>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218699A-9F44-43C4-BACD-AFA07472911A}">
      <dsp:nvSpPr>
        <dsp:cNvPr id="0" name=""/>
        <dsp:cNvSpPr/>
      </dsp:nvSpPr>
      <dsp:spPr>
        <a:xfrm>
          <a:off x="2143659" y="2974877"/>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de" sz="1700" b="0" i="0" strike="noStrike" kern="1200" cap="none" spc="0" baseline="0">
              <a:solidFill>
                <a:srgbClr val="000000"/>
              </a:solidFill>
              <a:effectLst/>
              <a:latin typeface="Calibri"/>
              <a:ea typeface="Calibri"/>
              <a:cs typeface="Calibri"/>
            </a:rPr>
            <a:t>Geschäftsreisen</a:t>
          </a:r>
          <a:endParaRPr lang="en-US" kern="1200"/>
        </a:p>
      </dsp:txBody>
      <dsp:txXfrm>
        <a:off x="2143659" y="2974877"/>
        <a:ext cx="1464257" cy="585703"/>
      </dsp:txXfrm>
    </dsp:sp>
    <dsp:sp modelId="{5421B5D6-8F0B-4CBE-B7B3-DBCDD202F370}">
      <dsp:nvSpPr>
        <dsp:cNvPr id="0" name=""/>
        <dsp:cNvSpPr/>
      </dsp:nvSpPr>
      <dsp:spPr>
        <a:xfrm>
          <a:off x="4266832" y="2087433"/>
          <a:ext cx="658916" cy="658916"/>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8CD23AD-0F84-4328-BCA7-961CDC0F9CC6}">
      <dsp:nvSpPr>
        <dsp:cNvPr id="0" name=""/>
        <dsp:cNvSpPr/>
      </dsp:nvSpPr>
      <dsp:spPr>
        <a:xfrm>
          <a:off x="3864162" y="2974877"/>
          <a:ext cx="1464257" cy="5857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de" sz="1700" b="0" i="0" strike="noStrike" kern="1200" cap="none" spc="0" baseline="0">
              <a:solidFill>
                <a:srgbClr val="000000"/>
              </a:solidFill>
              <a:effectLst/>
              <a:latin typeface="Calibri"/>
              <a:ea typeface="Calibri"/>
              <a:cs typeface="Calibri"/>
            </a:rPr>
            <a:t>Telearbeiter und Heimarbeiter</a:t>
          </a:r>
          <a:endParaRPr lang="en-US" kern="1200"/>
        </a:p>
      </dsp:txBody>
      <dsp:txXfrm>
        <a:off x="3864162" y="2974877"/>
        <a:ext cx="1464257" cy="585703"/>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18/5/layout/IconLeafLabelList">
  <dgm:title val="Icon Leaf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round2DiagRect" r:blip="">
            <dgm:adjLst/>
            <dgm:extLst>
              <a:ext uri="{B698B0E9-8C71-41B9-8309-B3DCBF30829C}">
                <dgm1612:spPr xmlns:dgm1612="http://schemas.microsoft.com/office/drawing/2016/12/diagram">
                  <a:prstGeom prst="round2DiagRect">
                    <a:avLst>
                      <a:gd name="adj1" fmla="val 29727"/>
                      <a:gd name="adj2" fmla="val 0"/>
                    </a:avLst>
                  </a:prstGeom>
                </dgm1612:spPr>
              </a:ext>
            </dgm:ext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cap="all"/>
        </a:lvl1pPr>
      </dgm1612:lstStyle>
    </a:ext>
  </dgm:extLst>
</dgm:layoutDef>
</file>

<file path=ppt/diagrams/layout13.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95288" y="169863"/>
            <a:ext cx="6159500" cy="4621212"/>
          </a:xfrm>
          <a:prstGeom prst="rect">
            <a:avLst/>
          </a:prstGeom>
          <a:noFill/>
          <a:ln w="12700">
            <a:solidFill>
              <a:prstClr val="black"/>
            </a:solidFill>
          </a:ln>
        </p:spPr>
      </p:sp>
      <p:sp>
        <p:nvSpPr>
          <p:cNvPr id="5" name="Notes Placeholder 4"/>
          <p:cNvSpPr>
            <a:spLocks noGrp="1"/>
          </p:cNvSpPr>
          <p:nvPr>
            <p:ph type="body" sz="quarter" idx="3"/>
          </p:nvPr>
        </p:nvSpPr>
        <p:spPr>
          <a:xfrm>
            <a:off x="400792" y="4940567"/>
            <a:ext cx="6148491" cy="3932540"/>
          </a:xfrm>
          <a:prstGeom prst="rect">
            <a:avLst/>
          </a:prstGeom>
        </p:spPr>
        <p:txBody>
          <a:bodyPr vert="horz" lIns="91001" tIns="45502" rIns="91001" bIns="4550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1" y="8721144"/>
            <a:ext cx="3012329" cy="463695"/>
          </a:xfrm>
          <a:prstGeom prst="rect">
            <a:avLst/>
          </a:prstGeom>
        </p:spPr>
        <p:txBody>
          <a:bodyPr vert="horz" lIns="91001" tIns="45502" rIns="91001" bIns="45502" rtlCol="0" anchor="b"/>
          <a:lstStyle>
            <a:lvl1pPr algn="l">
              <a:defRPr sz="1000">
                <a:solidFill>
                  <a:srgbClr val="203864"/>
                </a:solidFill>
              </a:defRPr>
            </a:lvl1pPr>
          </a:lstStyle>
          <a:p>
            <a:r>
              <a:rPr lang="en-US"/>
              <a:t>RPM International Inc.</a:t>
            </a:r>
          </a:p>
        </p:txBody>
      </p:sp>
      <p:sp>
        <p:nvSpPr>
          <p:cNvPr id="7" name="Slide Number Placeholder 6"/>
          <p:cNvSpPr>
            <a:spLocks noGrp="1"/>
          </p:cNvSpPr>
          <p:nvPr>
            <p:ph type="sldNum" sz="quarter" idx="5"/>
          </p:nvPr>
        </p:nvSpPr>
        <p:spPr>
          <a:xfrm>
            <a:off x="3937742" y="8721144"/>
            <a:ext cx="3012329" cy="463695"/>
          </a:xfrm>
          <a:prstGeom prst="rect">
            <a:avLst/>
          </a:prstGeom>
        </p:spPr>
        <p:txBody>
          <a:bodyPr vert="horz" lIns="91001" tIns="45502" rIns="91001" bIns="45502" rtlCol="0" anchor="b"/>
          <a:lstStyle>
            <a:lvl1pPr algn="r">
              <a:defRPr sz="1000">
                <a:solidFill>
                  <a:srgbClr val="203864"/>
                </a:solidFill>
              </a:defRPr>
            </a:lvl1pPr>
          </a:lstStyle>
          <a:p>
            <a:fld id="{AA05FC04-006C-4370-AA2A-61F90C8564E7}" type="slidenum">
              <a:rPr lang="en-US" smtClean="0"/>
              <a:t>‹#›</a:t>
            </a:fld>
            <a:endParaRPr lang="en-US"/>
          </a:p>
        </p:txBody>
      </p:sp>
    </p:spTree>
    <p:extLst>
      <p:ext uri="{BB962C8B-B14F-4D97-AF65-F5344CB8AC3E}">
        <p14:creationId xmlns:p14="http://schemas.microsoft.com/office/powerpoint/2010/main" val="14943771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AA05FC04-006C-4370-AA2A-61F90C8564E7}" type="slidenum">
              <a:rPr lang="en-US" smtClean="0"/>
              <a:t>1</a:t>
            </a:fld>
            <a:endParaRPr lang="en-US"/>
          </a:p>
        </p:txBody>
      </p:sp>
      <p:sp>
        <p:nvSpPr>
          <p:cNvPr id="6" name="Slide Image Placeholder 5">
            <a:extLst>
              <a:ext uri="{FF2B5EF4-FFF2-40B4-BE49-F238E27FC236}">
                <a16:creationId xmlns:a16="http://schemas.microsoft.com/office/drawing/2014/main" id="{C72E06DF-B426-4181-8E0A-454FF7736633}"/>
              </a:ext>
            </a:extLst>
          </p:cNvPr>
          <p:cNvSpPr>
            <a:spLocks noGrp="1" noRot="1" noChangeAspect="1"/>
          </p:cNvSpPr>
          <p:nvPr>
            <p:ph type="sldImg"/>
          </p:nvPr>
        </p:nvSpPr>
        <p:spPr>
          <a:xfrm>
            <a:off x="393700" y="169863"/>
            <a:ext cx="6162675" cy="4622800"/>
          </a:xfrm>
        </p:spPr>
      </p:sp>
      <p:sp>
        <p:nvSpPr>
          <p:cNvPr id="7" name="Notes Placeholder 6">
            <a:extLst>
              <a:ext uri="{FF2B5EF4-FFF2-40B4-BE49-F238E27FC236}">
                <a16:creationId xmlns:a16="http://schemas.microsoft.com/office/drawing/2014/main" id="{C2D10176-95FB-4A01-AB36-F535C89BE4A6}"/>
              </a:ext>
            </a:extLst>
          </p:cNvPr>
          <p:cNvSpPr>
            <a:spLocks noGrp="1"/>
          </p:cNvSpPr>
          <p:nvPr>
            <p:ph type="body" idx="1"/>
          </p:nvPr>
        </p:nvSpPr>
        <p:spPr/>
        <p:txBody>
          <a:bodyPr>
            <a:normAutofit/>
          </a:bodyPr>
          <a:lstStyle/>
          <a:p>
            <a:pPr>
              <a:lnSpc>
                <a:spcPct val="120000"/>
              </a:lnSpc>
            </a:pPr>
            <a:endParaRPr lang="en-US"/>
          </a:p>
        </p:txBody>
      </p:sp>
    </p:spTree>
    <p:extLst>
      <p:ext uri="{BB962C8B-B14F-4D97-AF65-F5344CB8AC3E}">
        <p14:creationId xmlns:p14="http://schemas.microsoft.com/office/powerpoint/2010/main" val="4857635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A05FC04-006C-4370-AA2A-61F90C8564E7}" type="slidenum">
              <a:rPr lang="en-US" smtClean="0"/>
              <a:t>4</a:t>
            </a:fld>
            <a:endParaRPr lang="en-US"/>
          </a:p>
        </p:txBody>
      </p:sp>
    </p:spTree>
    <p:extLst>
      <p:ext uri="{BB962C8B-B14F-4D97-AF65-F5344CB8AC3E}">
        <p14:creationId xmlns:p14="http://schemas.microsoft.com/office/powerpoint/2010/main" val="22593852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4AFCF93-F657-4B86-AF22-65B0BC4CCAC8}"/>
              </a:ext>
            </a:extLst>
          </p:cNvPr>
          <p:cNvGraphicFramePr>
            <a:graphicFrameLocks noChangeAspect="1"/>
          </p:cNvGraphicFramePr>
          <p:nvPr userDrawn="1">
            <p:custDataLst>
              <p:tags r:id="rId1"/>
            </p:custDataLst>
            <p:extLst>
              <p:ext uri="{D42A27DB-BD31-4B8C-83A1-F6EECF244321}">
                <p14:modId xmlns:p14="http://schemas.microsoft.com/office/powerpoint/2010/main" val="473403509"/>
              </p:ext>
            </p:ext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name="think-cell Slide" r:id="rId4" imgW="424" imgH="424" progId="TCLayout.ActiveDocument.1">
                  <p:embed/>
                </p:oleObj>
              </mc:Choice>
              <mc:Fallback>
                <p:oleObj name="think-cell Slide" r:id="rId4" imgW="424" imgH="424" progId="TCLayout.ActiveDocument.1">
                  <p:embed/>
                  <p:pic>
                    <p:nvPicPr>
                      <p:cNvPr id="9" name="Object 8" hidden="1">
                        <a:extLst>
                          <a:ext uri="{FF2B5EF4-FFF2-40B4-BE49-F238E27FC236}">
                            <a16:creationId xmlns:a16="http://schemas.microsoft.com/office/drawing/2014/main" id="{74AFCF93-F657-4B86-AF22-65B0BC4CCAC8}"/>
                          </a:ext>
                        </a:extLst>
                      </p:cNvPr>
                      <p:cNvPicPr/>
                      <p:nvPr/>
                    </p:nvPicPr>
                    <p:blipFill>
                      <a:blip r:embed="rId5"/>
                      <a:stretch>
                        <a:fillRect/>
                      </a:stretch>
                    </p:blipFill>
                    <p:spPr>
                      <a:xfrm>
                        <a:off x="1193" y="1588"/>
                        <a:ext cx="1191"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7C78A8F-C7D7-4FCD-ABDF-9F33A29FBAE3}"/>
              </a:ext>
            </a:extLst>
          </p:cNvPr>
          <p:cNvSpPr/>
          <p:nvPr userDrawn="1">
            <p:custDataLst>
              <p:tags r:id="rId2"/>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4500" b="0" i="0" baseline="0">
              <a:latin typeface="Calibri Light" panose="020F0302020204030204" pitchFamily="34" charset="0"/>
              <a:ea typeface="+mj-ea"/>
              <a:cs typeface="+mj-cs"/>
              <a:sym typeface="Calibri Light" panose="020F0302020204030204" pitchFamily="34" charset="0"/>
            </a:endParaRPr>
          </a:p>
        </p:txBody>
      </p:sp>
      <p:sp>
        <p:nvSpPr>
          <p:cNvPr id="2" name="Title 1"/>
          <p:cNvSpPr>
            <a:spLocks noGrp="1"/>
          </p:cNvSpPr>
          <p:nvPr>
            <p:ph type="ctrTitle"/>
          </p:nvPr>
        </p:nvSpPr>
        <p:spPr>
          <a:xfrm>
            <a:off x="1143000" y="1122363"/>
            <a:ext cx="6858000" cy="2387600"/>
          </a:xfrm>
        </p:spPr>
        <p:txBody>
          <a:bodyPr anchor="b"/>
          <a:lstStyle>
            <a:lvl1pPr algn="ctr">
              <a:defRPr sz="4500">
                <a:solidFill>
                  <a:schemeClr val="tx1"/>
                </a:solidFill>
              </a:defRPr>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875" indent="0" algn="ctr">
              <a:buNone/>
              <a:defRPr sz="1500"/>
            </a:lvl2pPr>
            <a:lvl3pPr marL="685749" indent="0" algn="ctr">
              <a:buNone/>
              <a:defRPr sz="1350"/>
            </a:lvl3pPr>
            <a:lvl4pPr marL="1028624" indent="0" algn="ctr">
              <a:buNone/>
              <a:defRPr sz="1200"/>
            </a:lvl4pPr>
            <a:lvl5pPr marL="1371498" indent="0" algn="ctr">
              <a:buNone/>
              <a:defRPr sz="1200"/>
            </a:lvl5pPr>
            <a:lvl6pPr marL="1714373" indent="0" algn="ctr">
              <a:buNone/>
              <a:defRPr sz="1200"/>
            </a:lvl6pPr>
            <a:lvl7pPr marL="2057246" indent="0" algn="ctr">
              <a:buNone/>
              <a:defRPr sz="1200"/>
            </a:lvl7pPr>
            <a:lvl8pPr marL="2400120" indent="0" algn="ctr">
              <a:buNone/>
              <a:defRPr sz="1200"/>
            </a:lvl8pPr>
            <a:lvl9pPr marL="2742995" indent="0" algn="ctr">
              <a:buNone/>
              <a:defRPr sz="1200"/>
            </a:lvl9pPr>
          </a:lstStyle>
          <a:p>
            <a:r>
              <a:rPr lang="en-US"/>
              <a:t>Click to edit Master subtitle style</a:t>
            </a:r>
          </a:p>
        </p:txBody>
      </p:sp>
    </p:spTree>
    <p:extLst>
      <p:ext uri="{BB962C8B-B14F-4D97-AF65-F5344CB8AC3E}">
        <p14:creationId xmlns:p14="http://schemas.microsoft.com/office/powerpoint/2010/main" val="3832464026"/>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6D9C2DC-7DD7-4CCC-9988-35B863DFA90C}"/>
              </a:ext>
            </a:extLst>
          </p:cNvPr>
          <p:cNvGraphicFramePr>
            <a:graphicFrameLocks noChangeAspect="1"/>
          </p:cNvGraphicFramePr>
          <p:nvPr userDrawn="1">
            <p:custDataLst>
              <p:tags r:id="rId1"/>
            </p:custDataLst>
            <p:extLst>
              <p:ext uri="{D42A27DB-BD31-4B8C-83A1-F6EECF244321}">
                <p14:modId xmlns:p14="http://schemas.microsoft.com/office/powerpoint/2010/main" val="2080291004"/>
              </p:ext>
            </p:extLst>
          </p:nvPr>
        </p:nvGraphicFramePr>
        <p:xfrm>
          <a:off x="1192" y="1593"/>
          <a:ext cx="1190" cy="1587"/>
        </p:xfrm>
        <a:graphic>
          <a:graphicData uri="http://schemas.openxmlformats.org/presentationml/2006/ole">
            <mc:AlternateContent xmlns:mc="http://schemas.openxmlformats.org/markup-compatibility/2006">
              <mc:Choice xmlns:v="urn:schemas-microsoft-com:vml" Requires="v">
                <p:oleObj name="think-cell Slide" r:id="rId3" imgW="216" imgH="216" progId="TCLayout.ActiveDocument.1">
                  <p:embed/>
                </p:oleObj>
              </mc:Choice>
              <mc:Fallback>
                <p:oleObj name="think-cell Slide" r:id="rId3" imgW="216" imgH="216" progId="TCLayout.ActiveDocument.1">
                  <p:embed/>
                  <p:pic>
                    <p:nvPicPr>
                      <p:cNvPr id="4" name="Object 3" hidden="1">
                        <a:extLst>
                          <a:ext uri="{FF2B5EF4-FFF2-40B4-BE49-F238E27FC236}">
                            <a16:creationId xmlns:a16="http://schemas.microsoft.com/office/drawing/2014/main" id="{06D9C2DC-7DD7-4CCC-9988-35B863DFA90C}"/>
                          </a:ext>
                        </a:extLst>
                      </p:cNvPr>
                      <p:cNvPicPr/>
                      <p:nvPr/>
                    </p:nvPicPr>
                    <p:blipFill>
                      <a:blip r:embed="rId4"/>
                      <a:stretch>
                        <a:fillRect/>
                      </a:stretch>
                    </p:blipFill>
                    <p:spPr>
                      <a:xfrm>
                        <a:off x="1192" y="1593"/>
                        <a:ext cx="1190" cy="1587"/>
                      </a:xfrm>
                      <a:prstGeom prst="rect">
                        <a:avLst/>
                      </a:prstGeom>
                    </p:spPr>
                  </p:pic>
                </p:oleObj>
              </mc:Fallback>
            </mc:AlternateContent>
          </a:graphicData>
        </a:graphic>
      </p:graphicFrame>
      <p:sp>
        <p:nvSpPr>
          <p:cNvPr id="6" name="Title Placeholder 1"/>
          <p:cNvSpPr>
            <a:spLocks noGrp="1"/>
          </p:cNvSpPr>
          <p:nvPr>
            <p:ph type="title" hasCustomPrompt="1"/>
          </p:nvPr>
        </p:nvSpPr>
        <p:spPr>
          <a:xfrm>
            <a:off x="822960" y="182880"/>
            <a:ext cx="7358907" cy="787032"/>
          </a:xfrm>
          <a:prstGeom prst="rect">
            <a:avLst/>
          </a:prstGeom>
        </p:spPr>
        <p:txBody>
          <a:bodyPr vert="horz" lIns="91440" tIns="45720" rIns="91440" bIns="45720" rtlCol="0" anchor="ctr">
            <a:noAutofit/>
          </a:bodyPr>
          <a:lstStyle>
            <a:lvl1pPr>
              <a:defRPr sz="2000"/>
            </a:lvl1pPr>
          </a:lstStyle>
          <a:p>
            <a:r>
              <a:rPr lang="en-US"/>
              <a:t>Click to edit </a:t>
            </a:r>
            <a:br>
              <a:rPr lang="en-US"/>
            </a:br>
            <a:r>
              <a:rPr lang="en-US"/>
              <a:t>Master title style</a:t>
            </a:r>
          </a:p>
        </p:txBody>
      </p:sp>
      <p:sp>
        <p:nvSpPr>
          <p:cNvPr id="7" name="Text Placeholder 2"/>
          <p:cNvSpPr>
            <a:spLocks noGrp="1"/>
          </p:cNvSpPr>
          <p:nvPr>
            <p:ph idx="1"/>
          </p:nvPr>
        </p:nvSpPr>
        <p:spPr>
          <a:xfrm>
            <a:off x="432562" y="1508760"/>
            <a:ext cx="8074836" cy="484207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5">
            <a:extLst>
              <a:ext uri="{FF2B5EF4-FFF2-40B4-BE49-F238E27FC236}">
                <a16:creationId xmlns:a16="http://schemas.microsoft.com/office/drawing/2014/main" id="{04D026DA-6CE9-4966-BA89-38F47DC2EEFC}"/>
              </a:ext>
            </a:extLst>
          </p:cNvPr>
          <p:cNvSpPr>
            <a:spLocks noGrp="1"/>
          </p:cNvSpPr>
          <p:nvPr>
            <p:ph type="dt" sz="half" idx="2"/>
          </p:nvPr>
        </p:nvSpPr>
        <p:spPr>
          <a:xfrm>
            <a:off x="5828145" y="6558353"/>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EVENT NAME]  [DATE]</a:t>
            </a:r>
          </a:p>
        </p:txBody>
      </p:sp>
      <p:sp>
        <p:nvSpPr>
          <p:cNvPr id="8" name="Slide Number Placeholder 6">
            <a:extLst>
              <a:ext uri="{FF2B5EF4-FFF2-40B4-BE49-F238E27FC236}">
                <a16:creationId xmlns:a16="http://schemas.microsoft.com/office/drawing/2014/main" id="{62C2B23F-24A9-4052-948D-555AAA1D694F}"/>
              </a:ext>
            </a:extLst>
          </p:cNvPr>
          <p:cNvSpPr>
            <a:spLocks noGrp="1"/>
          </p:cNvSpPr>
          <p:nvPr>
            <p:ph type="sldNum" sz="quarter" idx="4"/>
          </p:nvPr>
        </p:nvSpPr>
        <p:spPr>
          <a:xfrm>
            <a:off x="8663437" y="6558353"/>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spTree>
    <p:extLst>
      <p:ext uri="{BB962C8B-B14F-4D97-AF65-F5344CB8AC3E}">
        <p14:creationId xmlns:p14="http://schemas.microsoft.com/office/powerpoint/2010/main" val="3451003217"/>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3C20818-8DDA-3F49-982E-FE672F9E4B39}"/>
              </a:ext>
            </a:extLst>
          </p:cNvPr>
          <p:cNvPicPr>
            <a:picLocks noChangeAspect="1"/>
          </p:cNvPicPr>
          <p:nvPr userDrawn="1"/>
        </p:nvPicPr>
        <p:blipFill>
          <a:blip r:embed="rId2"/>
          <a:srcRect l="10663" t="1445" r="10663"/>
          <a:stretch>
            <a:fillRect/>
          </a:stretch>
        </p:blipFill>
        <p:spPr>
          <a:xfrm>
            <a:off x="0" y="0"/>
            <a:ext cx="9144000" cy="5150840"/>
          </a:xfrm>
          <a:prstGeom prst="rect">
            <a:avLst/>
          </a:prstGeom>
        </p:spPr>
      </p:pic>
      <p:pic>
        <p:nvPicPr>
          <p:cNvPr id="5" name="Picture 4">
            <a:extLst>
              <a:ext uri="{FF2B5EF4-FFF2-40B4-BE49-F238E27FC236}">
                <a16:creationId xmlns:a16="http://schemas.microsoft.com/office/drawing/2014/main" id="{8DEFDE6D-6AB1-134F-BF2D-97D50BB8F9C2}"/>
              </a:ext>
            </a:extLst>
          </p:cNvPr>
          <p:cNvPicPr>
            <a:picLocks noChangeAspect="1"/>
          </p:cNvPicPr>
          <p:nvPr userDrawn="1"/>
        </p:nvPicPr>
        <p:blipFill>
          <a:blip r:embed="rId3"/>
          <a:stretch>
            <a:fillRect/>
          </a:stretch>
        </p:blipFill>
        <p:spPr>
          <a:xfrm>
            <a:off x="7089924" y="1560352"/>
            <a:ext cx="1604880" cy="2806118"/>
          </a:xfrm>
          <a:prstGeom prst="rect">
            <a:avLst/>
          </a:prstGeom>
        </p:spPr>
      </p:pic>
      <p:sp>
        <p:nvSpPr>
          <p:cNvPr id="6" name="Rectangle 5">
            <a:extLst>
              <a:ext uri="{FF2B5EF4-FFF2-40B4-BE49-F238E27FC236}">
                <a16:creationId xmlns:a16="http://schemas.microsoft.com/office/drawing/2014/main" id="{E35A33B2-1602-A14D-97FA-7C12265B23CF}"/>
              </a:ext>
            </a:extLst>
          </p:cNvPr>
          <p:cNvSpPr/>
          <p:nvPr userDrawn="1"/>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ight Triangle 6">
            <a:extLst>
              <a:ext uri="{FF2B5EF4-FFF2-40B4-BE49-F238E27FC236}">
                <a16:creationId xmlns:a16="http://schemas.microsoft.com/office/drawing/2014/main" id="{CFBB4451-9D41-6B4E-8FB0-339D4F654ADC}"/>
              </a:ext>
            </a:extLst>
          </p:cNvPr>
          <p:cNvSpPr/>
          <p:nvPr userDrawn="1"/>
        </p:nvSpPr>
        <p:spPr>
          <a:xfrm flipH="1">
            <a:off x="0" y="4135179"/>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Straight Connector 7">
            <a:extLst>
              <a:ext uri="{FF2B5EF4-FFF2-40B4-BE49-F238E27FC236}">
                <a16:creationId xmlns:a16="http://schemas.microsoft.com/office/drawing/2014/main" id="{E2E489EC-E4C0-BC4F-B047-C4F8266835C7}"/>
              </a:ext>
            </a:extLst>
          </p:cNvPr>
          <p:cNvCxnSpPr/>
          <p:nvPr userDrawn="1"/>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F3233C4D-12E6-CD44-B89E-3C9A22EA8343}"/>
              </a:ext>
            </a:extLst>
          </p:cNvPr>
          <p:cNvCxnSpPr/>
          <p:nvPr userDrawn="1"/>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D9ED571-82D2-D246-A47D-A80C822ADDD7}"/>
              </a:ext>
            </a:extLst>
          </p:cNvPr>
          <p:cNvSpPr txBox="1"/>
          <p:nvPr userDrawn="1"/>
        </p:nvSpPr>
        <p:spPr>
          <a:xfrm>
            <a:off x="394768" y="421272"/>
            <a:ext cx="3699545" cy="944880"/>
          </a:xfrm>
          <a:prstGeom prst="rect">
            <a:avLst/>
          </a:prstGeom>
          <a:noFill/>
        </p:spPr>
        <p:txBody>
          <a:bodyPr wrap="square" rtlCol="0">
            <a:spAutoFit/>
          </a:bodyPr>
          <a:lstStyle/>
          <a:p>
            <a:r>
              <a:rPr lang="de" sz="2800" b="1" i="0" strike="noStrike" cap="none" spc="0" baseline="0">
                <a:solidFill>
                  <a:srgbClr val="FFFFFF"/>
                </a:solidFill>
                <a:effectLst>
                  <a:outerShdw blurRad="50800" dist="38100" dir="2700000" algn="tl" rotWithShape="0">
                    <a:srgbClr val="000000">
                      <a:alpha val="40000"/>
                    </a:srgbClr>
                  </a:outerShdw>
                </a:effectLst>
                <a:latin typeface="Calibri"/>
                <a:ea typeface="Calibri"/>
                <a:cs typeface="Calibri"/>
              </a:rPr>
              <a:t>DER WERT VON 168</a:t>
            </a:r>
          </a:p>
        </p:txBody>
      </p:sp>
      <p:cxnSp>
        <p:nvCxnSpPr>
          <p:cNvPr id="11" name="Straight Connector 10">
            <a:extLst>
              <a:ext uri="{FF2B5EF4-FFF2-40B4-BE49-F238E27FC236}">
                <a16:creationId xmlns:a16="http://schemas.microsoft.com/office/drawing/2014/main" id="{A210BB95-7967-7648-835C-D3C45FEF1074}"/>
              </a:ext>
            </a:extLst>
          </p:cNvPr>
          <p:cNvCxnSpPr/>
          <p:nvPr userDrawn="1"/>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C0A2122B-42C6-2540-B8D4-3C80E6EA5871}"/>
              </a:ext>
            </a:extLst>
          </p:cNvPr>
          <p:cNvPicPr>
            <a:picLocks noChangeAspect="1"/>
          </p:cNvPicPr>
          <p:nvPr userDrawn="1"/>
        </p:nvPicPr>
        <p:blipFill>
          <a:blip r:embed="rId4"/>
          <a:stretch>
            <a:fillRect/>
          </a:stretch>
        </p:blipFill>
        <p:spPr>
          <a:xfrm>
            <a:off x="7295029" y="366842"/>
            <a:ext cx="1194670" cy="574062"/>
          </a:xfrm>
          <a:prstGeom prst="rect">
            <a:avLst/>
          </a:prstGeom>
        </p:spPr>
      </p:pic>
      <p:cxnSp>
        <p:nvCxnSpPr>
          <p:cNvPr id="13" name="Straight Connector 12">
            <a:extLst>
              <a:ext uri="{FF2B5EF4-FFF2-40B4-BE49-F238E27FC236}">
                <a16:creationId xmlns:a16="http://schemas.microsoft.com/office/drawing/2014/main" id="{FC04F3EC-D42F-3844-AEEA-6508D089560E}"/>
              </a:ext>
            </a:extLst>
          </p:cNvPr>
          <p:cNvCxnSpPr>
            <a:stCxn id="7" idx="0"/>
          </p:cNvCxnSpPr>
          <p:nvPr userDrawn="1"/>
        </p:nvCxnSpPr>
        <p:spPr>
          <a:xfrm flipH="1">
            <a:off x="9144000" y="4135179"/>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23888" y="5431631"/>
            <a:ext cx="7886700" cy="1019969"/>
          </a:xfrm>
        </p:spPr>
        <p:txBody>
          <a:bodyPr anchor="t"/>
          <a:lstStyle>
            <a:lvl1pPr algn="ctr">
              <a:defRPr sz="2100"/>
            </a:lvl1pPr>
          </a:lstStyle>
          <a:p>
            <a:r>
              <a:rPr lang="en-US"/>
              <a:t>CLICK TO EDIT MASTER TITLE STYLE</a:t>
            </a:r>
          </a:p>
        </p:txBody>
      </p:sp>
      <p:sp>
        <p:nvSpPr>
          <p:cNvPr id="3" name="Text Placeholder 2"/>
          <p:cNvSpPr>
            <a:spLocks noGrp="1"/>
          </p:cNvSpPr>
          <p:nvPr>
            <p:ph type="body" idx="1" hasCustomPrompt="1"/>
          </p:nvPr>
        </p:nvSpPr>
        <p:spPr>
          <a:xfrm>
            <a:off x="623888" y="5906287"/>
            <a:ext cx="7886700" cy="824714"/>
          </a:xfrm>
        </p:spPr>
        <p:txBody>
          <a:bodyPr anchor="t">
            <a:normAutofit/>
          </a:bodyPr>
          <a:lstStyle>
            <a:lvl1pPr marL="0" indent="0" algn="ctr">
              <a:buNone/>
              <a:defRPr sz="1900">
                <a:solidFill>
                  <a:schemeClr val="accent1">
                    <a:lumMod val="60000"/>
                    <a:lumOff val="40000"/>
                  </a:schemeClr>
                </a:solidFill>
              </a:defRPr>
            </a:lvl1pPr>
            <a:lvl2pPr marL="342875" indent="0">
              <a:buNone/>
              <a:defRPr sz="1500">
                <a:solidFill>
                  <a:schemeClr val="tx1">
                    <a:tint val="75000"/>
                  </a:schemeClr>
                </a:solidFill>
              </a:defRPr>
            </a:lvl2pPr>
            <a:lvl3pPr marL="685749"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3"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a:t>Click to edit Master text styles</a:t>
            </a:r>
          </a:p>
        </p:txBody>
      </p:sp>
      <p:sp>
        <p:nvSpPr>
          <p:cNvPr id="14" name="Date Placeholder 5">
            <a:extLst>
              <a:ext uri="{FF2B5EF4-FFF2-40B4-BE49-F238E27FC236}">
                <a16:creationId xmlns:a16="http://schemas.microsoft.com/office/drawing/2014/main" id="{67379C8A-A8C7-5444-8968-BF22585B1443}"/>
              </a:ext>
            </a:extLst>
          </p:cNvPr>
          <p:cNvSpPr>
            <a:spLocks noGrp="1"/>
          </p:cNvSpPr>
          <p:nvPr>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EVENT NAME]  [DATE]</a:t>
            </a:r>
          </a:p>
        </p:txBody>
      </p:sp>
      <p:sp>
        <p:nvSpPr>
          <p:cNvPr id="15" name="Slide Number Placeholder 6">
            <a:extLst>
              <a:ext uri="{FF2B5EF4-FFF2-40B4-BE49-F238E27FC236}">
                <a16:creationId xmlns:a16="http://schemas.microsoft.com/office/drawing/2014/main" id="{577E463F-897D-E840-990E-1EA31520DE5D}"/>
              </a:ext>
            </a:extLst>
          </p:cNvPr>
          <p:cNvSpPr>
            <a:spLocks noGrp="1"/>
          </p:cNvSpPr>
          <p:nvPr>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spTree>
    <p:extLst>
      <p:ext uri="{BB962C8B-B14F-4D97-AF65-F5344CB8AC3E}">
        <p14:creationId xmlns:p14="http://schemas.microsoft.com/office/powerpoint/2010/main" val="1009462826"/>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22959" y="182880"/>
            <a:ext cx="7381415" cy="729882"/>
          </a:xfrm>
        </p:spPr>
        <p:txBody>
          <a:bodyPr anchor="ctr"/>
          <a:lstStyle>
            <a:lvl1pPr>
              <a:defRPr sz="2000"/>
            </a:lvl1pPr>
          </a:lstStyle>
          <a:p>
            <a:r>
              <a:rPr lang="en-US"/>
              <a:t>Click to edit Master title style</a:t>
            </a:r>
          </a:p>
        </p:txBody>
      </p:sp>
      <p:sp>
        <p:nvSpPr>
          <p:cNvPr id="3" name="Content Placeholder 2"/>
          <p:cNvSpPr>
            <a:spLocks noGrp="1"/>
          </p:cNvSpPr>
          <p:nvPr>
            <p:ph sz="half" idx="1"/>
          </p:nvPr>
        </p:nvSpPr>
        <p:spPr>
          <a:xfrm>
            <a:off x="6286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508760"/>
            <a:ext cx="3886200" cy="51354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577170"/>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A82D8D2-D001-447A-9CC3-6A70A245AA9B}"/>
              </a:ext>
            </a:extLst>
          </p:cNvPr>
          <p:cNvSpPr>
            <a:spLocks noGrp="1"/>
          </p:cNvSpPr>
          <p:nvPr>
            <p:ph type="dt" sz="half" idx="10"/>
          </p:nvPr>
        </p:nvSpPr>
        <p:spPr/>
        <p:txBody>
          <a:bodyPr/>
          <a:lstStyle/>
          <a:p>
            <a:r>
              <a:rPr lang="en-US"/>
              <a:t>[EVENT NAME]  [DATE]</a:t>
            </a:r>
          </a:p>
        </p:txBody>
      </p:sp>
      <p:sp>
        <p:nvSpPr>
          <p:cNvPr id="3" name="Slide Number Placeholder 2">
            <a:extLst>
              <a:ext uri="{FF2B5EF4-FFF2-40B4-BE49-F238E27FC236}">
                <a16:creationId xmlns:a16="http://schemas.microsoft.com/office/drawing/2014/main" id="{F7A0836A-9EC2-4646-A6C5-9387BF5F7E7C}"/>
              </a:ext>
            </a:extLst>
          </p:cNvPr>
          <p:cNvSpPr>
            <a:spLocks noGrp="1"/>
          </p:cNvSpPr>
          <p:nvPr>
            <p:ph type="sldNum" sz="quarter" idx="11"/>
          </p:nvPr>
        </p:nvSpPr>
        <p:spPr/>
        <p:txBody>
          <a:bodyPr/>
          <a:lstStyle/>
          <a:p>
            <a:fld id="{BB5FC4A1-A2DE-4EB5-9A46-57D39B4235EC}" type="slidenum">
              <a:rPr lang="en-US" smtClean="0"/>
              <a:t>‹#›</a:t>
            </a:fld>
            <a:endParaRPr lang="en-US"/>
          </a:p>
        </p:txBody>
      </p:sp>
      <p:sp>
        <p:nvSpPr>
          <p:cNvPr id="4" name="Rectangle 3">
            <a:extLst>
              <a:ext uri="{FF2B5EF4-FFF2-40B4-BE49-F238E27FC236}">
                <a16:creationId xmlns:a16="http://schemas.microsoft.com/office/drawing/2014/main" id="{698DB757-C18B-024A-B87B-4106DB5C635E}"/>
              </a:ext>
            </a:extLst>
          </p:cNvPr>
          <p:cNvSpPr/>
          <p:nvPr userDrawn="1"/>
        </p:nvSpPr>
        <p:spPr>
          <a:xfrm>
            <a:off x="0" y="0"/>
            <a:ext cx="9144000" cy="6362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44744025"/>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E2D8CFC-3DEC-FD4D-96D7-7194133CD71D}"/>
              </a:ext>
            </a:extLst>
          </p:cNvPr>
          <p:cNvSpPr/>
          <p:nvPr userDrawn="1"/>
        </p:nvSpPr>
        <p:spPr>
          <a:xfrm>
            <a:off x="0" y="0"/>
            <a:ext cx="9144000" cy="478971"/>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a:extLst>
              <a:ext uri="{FF2B5EF4-FFF2-40B4-BE49-F238E27FC236}">
                <a16:creationId xmlns:a16="http://schemas.microsoft.com/office/drawing/2014/main" id="{32B61A1D-A6C9-744B-8A85-17AC7E0D5A56}"/>
              </a:ext>
            </a:extLst>
          </p:cNvPr>
          <p:cNvSpPr/>
          <p:nvPr userDrawn="1"/>
        </p:nvSpPr>
        <p:spPr>
          <a:xfrm flipV="1">
            <a:off x="0" y="469706"/>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2C1FA3CD-B01F-DC44-8BC7-68255466CE53}"/>
              </a:ext>
            </a:extLst>
          </p:cNvPr>
          <p:cNvSpPr/>
          <p:nvPr userDrawn="1"/>
        </p:nvSpPr>
        <p:spPr>
          <a:xfrm>
            <a:off x="-539388" y="-127453"/>
            <a:ext cx="1288868" cy="1593668"/>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3" hidden="1">
            <a:extLst>
              <a:ext uri="{FF2B5EF4-FFF2-40B4-BE49-F238E27FC236}">
                <a16:creationId xmlns:a16="http://schemas.microsoft.com/office/drawing/2014/main" id="{BA747609-9833-467F-ADAA-9AD838BECE59}"/>
              </a:ext>
            </a:extLst>
          </p:cNvPr>
          <p:cNvGraphicFramePr>
            <a:graphicFrameLocks noChangeAspect="1"/>
          </p:cNvGraphicFramePr>
          <p:nvPr userDrawn="1">
            <p:custDataLst>
              <p:tags r:id="rId7"/>
            </p:custDataLst>
            <p:extLst>
              <p:ext uri="{D42A27DB-BD31-4B8C-83A1-F6EECF244321}">
                <p14:modId xmlns:p14="http://schemas.microsoft.com/office/powerpoint/2010/main" val="2327716345"/>
              </p:ext>
            </p:extLst>
          </p:nvPr>
        </p:nvGraphicFramePr>
        <p:xfrm>
          <a:off x="1192" y="1593"/>
          <a:ext cx="1190" cy="1587"/>
        </p:xfrm>
        <a:graphic>
          <a:graphicData uri="http://schemas.openxmlformats.org/presentationml/2006/ole">
            <mc:AlternateContent xmlns:mc="http://schemas.openxmlformats.org/markup-compatibility/2006">
              <mc:Choice xmlns:v="urn:schemas-microsoft-com:vml" Requires="v">
                <p:oleObj name="think-cell Slide" r:id="rId9" imgW="216" imgH="216" progId="TCLayout.ActiveDocument.1">
                  <p:embed/>
                </p:oleObj>
              </mc:Choice>
              <mc:Fallback>
                <p:oleObj name="think-cell Slide" r:id="rId9" imgW="216" imgH="216" progId="TCLayout.ActiveDocument.1">
                  <p:embed/>
                  <p:pic>
                    <p:nvPicPr>
                      <p:cNvPr id="4" name="Object 3" hidden="1">
                        <a:extLst>
                          <a:ext uri="{FF2B5EF4-FFF2-40B4-BE49-F238E27FC236}">
                            <a16:creationId xmlns:a16="http://schemas.microsoft.com/office/drawing/2014/main" id="{BA747609-9833-467F-ADAA-9AD838BECE59}"/>
                          </a:ext>
                        </a:extLst>
                      </p:cNvPr>
                      <p:cNvPicPr/>
                      <p:nvPr/>
                    </p:nvPicPr>
                    <p:blipFill>
                      <a:blip r:embed="rId10"/>
                      <a:stretch>
                        <a:fillRect/>
                      </a:stretch>
                    </p:blipFill>
                    <p:spPr>
                      <a:xfrm>
                        <a:off x="1192" y="1593"/>
                        <a:ext cx="1190"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DC626B4-3FDA-42D9-90C5-C9E389B82763}"/>
              </a:ext>
            </a:extLst>
          </p:cNvPr>
          <p:cNvSpPr/>
          <p:nvPr userDrawn="1">
            <p:custDataLst>
              <p:tags r:id="rId8"/>
            </p:custDataLst>
          </p:nvPr>
        </p:nvSpPr>
        <p:spPr>
          <a:xfrm>
            <a:off x="2"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userDrawn="1">
            <p:ph type="body" idx="1"/>
          </p:nvPr>
        </p:nvSpPr>
        <p:spPr>
          <a:xfrm>
            <a:off x="440513" y="1508760"/>
            <a:ext cx="8222925" cy="495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a:extLst>
              <a:ext uri="{FF2B5EF4-FFF2-40B4-BE49-F238E27FC236}">
                <a16:creationId xmlns:a16="http://schemas.microsoft.com/office/drawing/2014/main" id="{CB842DD3-1F47-49B9-8BEC-7D41C6439C24}"/>
              </a:ext>
            </a:extLst>
          </p:cNvPr>
          <p:cNvSpPr>
            <a:spLocks noGrp="1"/>
          </p:cNvSpPr>
          <p:nvPr userDrawn="1">
            <p:ph type="dt" sz="half" idx="2"/>
          </p:nvPr>
        </p:nvSpPr>
        <p:spPr>
          <a:xfrm>
            <a:off x="5828145" y="6567589"/>
            <a:ext cx="2869679" cy="365125"/>
          </a:xfrm>
          <a:prstGeom prst="rect">
            <a:avLst/>
          </a:prstGeom>
        </p:spPr>
        <p:txBody>
          <a:bodyPr vert="horz" lIns="91440" tIns="45720" rIns="91440" bIns="45720" rtlCol="0" anchor="ctr"/>
          <a:lstStyle>
            <a:lvl1pPr algn="r">
              <a:defRPr sz="900">
                <a:solidFill>
                  <a:schemeClr val="tx1">
                    <a:tint val="75000"/>
                  </a:schemeClr>
                </a:solidFill>
              </a:defRPr>
            </a:lvl1pPr>
          </a:lstStyle>
          <a:p>
            <a:r>
              <a:rPr lang="en-US"/>
              <a:t>[EVENT NAME]  [DATE]</a:t>
            </a:r>
          </a:p>
        </p:txBody>
      </p:sp>
      <p:sp>
        <p:nvSpPr>
          <p:cNvPr id="7" name="Slide Number Placeholder 6">
            <a:extLst>
              <a:ext uri="{FF2B5EF4-FFF2-40B4-BE49-F238E27FC236}">
                <a16:creationId xmlns:a16="http://schemas.microsoft.com/office/drawing/2014/main" id="{D165FD2D-E7F9-42B7-BFD9-48910D97D383}"/>
              </a:ext>
            </a:extLst>
          </p:cNvPr>
          <p:cNvSpPr>
            <a:spLocks noGrp="1"/>
          </p:cNvSpPr>
          <p:nvPr userDrawn="1">
            <p:ph type="sldNum" sz="quarter" idx="4"/>
          </p:nvPr>
        </p:nvSpPr>
        <p:spPr>
          <a:xfrm>
            <a:off x="8663437" y="6567589"/>
            <a:ext cx="480561"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B5FC4A1-A2DE-4EB5-9A46-57D39B4235EC}" type="slidenum">
              <a:rPr lang="en-US" smtClean="0"/>
              <a:t>‹#›</a:t>
            </a:fld>
            <a:endParaRPr lang="en-US"/>
          </a:p>
        </p:txBody>
      </p:sp>
      <p:pic>
        <p:nvPicPr>
          <p:cNvPr id="11" name="Picture 10">
            <a:extLst>
              <a:ext uri="{FF2B5EF4-FFF2-40B4-BE49-F238E27FC236}">
                <a16:creationId xmlns:a16="http://schemas.microsoft.com/office/drawing/2014/main" id="{44C7278D-9D52-4F44-9B05-6B28B38BBC0A}"/>
              </a:ext>
            </a:extLst>
          </p:cNvPr>
          <p:cNvPicPr>
            <a:picLocks noChangeAspect="1"/>
          </p:cNvPicPr>
          <p:nvPr userDrawn="1"/>
        </p:nvPicPr>
        <p:blipFill>
          <a:blip r:embed="rId11"/>
          <a:stretch>
            <a:fillRect/>
          </a:stretch>
        </p:blipFill>
        <p:spPr>
          <a:xfrm>
            <a:off x="8273498" y="122216"/>
            <a:ext cx="449083" cy="215793"/>
          </a:xfrm>
          <a:prstGeom prst="rect">
            <a:avLst/>
          </a:prstGeom>
        </p:spPr>
      </p:pic>
      <p:cxnSp>
        <p:nvCxnSpPr>
          <p:cNvPr id="17" name="Straight Connector 16">
            <a:extLst>
              <a:ext uri="{FF2B5EF4-FFF2-40B4-BE49-F238E27FC236}">
                <a16:creationId xmlns:a16="http://schemas.microsoft.com/office/drawing/2014/main" id="{DE031173-76F9-0B4F-ADB8-48A4534C30F2}"/>
              </a:ext>
            </a:extLst>
          </p:cNvPr>
          <p:cNvCxnSpPr/>
          <p:nvPr userDrawn="1"/>
        </p:nvCxnSpPr>
        <p:spPr>
          <a:xfrm flipV="1">
            <a:off x="0" y="412750"/>
            <a:ext cx="9144000" cy="990786"/>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6C55FC23-F9BC-A94F-8AD6-09F5A1F6773C}"/>
              </a:ext>
            </a:extLst>
          </p:cNvPr>
          <p:cNvPicPr>
            <a:picLocks noChangeAspect="1"/>
          </p:cNvPicPr>
          <p:nvPr userDrawn="1"/>
        </p:nvPicPr>
        <p:blipFill>
          <a:blip r:embed="rId12"/>
          <a:stretch>
            <a:fillRect/>
          </a:stretch>
        </p:blipFill>
        <p:spPr>
          <a:xfrm>
            <a:off x="69330" y="431503"/>
            <a:ext cx="565670" cy="989068"/>
          </a:xfrm>
          <a:prstGeom prst="rect">
            <a:avLst/>
          </a:prstGeom>
        </p:spPr>
      </p:pic>
      <p:cxnSp>
        <p:nvCxnSpPr>
          <p:cNvPr id="14" name="Straight Connector 13">
            <a:extLst>
              <a:ext uri="{FF2B5EF4-FFF2-40B4-BE49-F238E27FC236}">
                <a16:creationId xmlns:a16="http://schemas.microsoft.com/office/drawing/2014/main" id="{483A96E6-6F6D-8449-930B-00072C356C7C}"/>
              </a:ext>
            </a:extLst>
          </p:cNvPr>
          <p:cNvCxnSpPr>
            <a:stCxn id="8" idx="0"/>
          </p:cNvCxnSpPr>
          <p:nvPr userDrawn="1"/>
        </p:nvCxnSpPr>
        <p:spPr>
          <a:xfrm flipV="1">
            <a:off x="0" y="473075"/>
            <a:ext cx="9144000" cy="995008"/>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userDrawn="1">
            <p:ph type="title"/>
          </p:nvPr>
        </p:nvSpPr>
        <p:spPr>
          <a:xfrm>
            <a:off x="819807" y="208455"/>
            <a:ext cx="7371956" cy="767982"/>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6808840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5" r:id="rId5"/>
  </p:sldLayoutIdLst>
  <p:transition spd="med">
    <p:fade/>
  </p:transition>
  <p:hf hdr="0" ftr="0"/>
  <p:txStyles>
    <p:titleStyle>
      <a:lvl1pPr algn="l" defTabSz="685749" rtl="0" eaLnBrk="1" latinLnBrk="0" hangingPunct="1">
        <a:lnSpc>
          <a:spcPct val="90000"/>
        </a:lnSpc>
        <a:spcBef>
          <a:spcPct val="0"/>
        </a:spcBef>
        <a:buNone/>
        <a:defRPr sz="2000" kern="1200">
          <a:solidFill>
            <a:schemeClr val="bg1"/>
          </a:solidFill>
          <a:latin typeface="+mj-lt"/>
          <a:ea typeface="+mj-ea"/>
          <a:cs typeface="+mj-cs"/>
        </a:defRPr>
      </a:lvl1pPr>
    </p:titleStyle>
    <p:bodyStyle>
      <a:lvl1pPr marL="171438" indent="-171438" algn="l" defTabSz="685749"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13" indent="-171438" algn="l" defTabSz="685749"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86" indent="-171438" algn="l" defTabSz="685749"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60"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2935"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4.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2.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4.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2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C812F8B-2EF6-0C48-B62F-F33EBB9687F0}"/>
              </a:ext>
            </a:extLst>
          </p:cNvPr>
          <p:cNvPicPr>
            <a:picLocks noChangeAspect="1"/>
          </p:cNvPicPr>
          <p:nvPr/>
        </p:nvPicPr>
        <p:blipFill>
          <a:blip r:embed="rId3"/>
          <a:srcRect l="10663" t="1445" r="10663"/>
          <a:stretch>
            <a:fillRect/>
          </a:stretch>
        </p:blipFill>
        <p:spPr>
          <a:xfrm>
            <a:off x="0" y="0"/>
            <a:ext cx="9144000" cy="5150840"/>
          </a:xfrm>
          <a:prstGeom prst="rect">
            <a:avLst/>
          </a:prstGeom>
        </p:spPr>
      </p:pic>
      <p:pic>
        <p:nvPicPr>
          <p:cNvPr id="14" name="Picture 13">
            <a:extLst>
              <a:ext uri="{FF2B5EF4-FFF2-40B4-BE49-F238E27FC236}">
                <a16:creationId xmlns:a16="http://schemas.microsoft.com/office/drawing/2014/main" id="{804C59E1-3B19-0D40-B987-2944D4246FE0}"/>
              </a:ext>
            </a:extLst>
          </p:cNvPr>
          <p:cNvPicPr>
            <a:picLocks noChangeAspect="1"/>
          </p:cNvPicPr>
          <p:nvPr/>
        </p:nvPicPr>
        <p:blipFill>
          <a:blip r:embed="rId4"/>
          <a:stretch>
            <a:fillRect/>
          </a:stretch>
        </p:blipFill>
        <p:spPr>
          <a:xfrm>
            <a:off x="7089924" y="1560352"/>
            <a:ext cx="1604880" cy="2806118"/>
          </a:xfrm>
          <a:prstGeom prst="rect">
            <a:avLst/>
          </a:prstGeom>
        </p:spPr>
      </p:pic>
      <p:sp>
        <p:nvSpPr>
          <p:cNvPr id="12" name="Rectangle 11">
            <a:extLst>
              <a:ext uri="{FF2B5EF4-FFF2-40B4-BE49-F238E27FC236}">
                <a16:creationId xmlns:a16="http://schemas.microsoft.com/office/drawing/2014/main" id="{CD1A6E58-379A-954B-8D70-B060637170A2}"/>
              </a:ext>
            </a:extLst>
          </p:cNvPr>
          <p:cNvSpPr/>
          <p:nvPr/>
        </p:nvSpPr>
        <p:spPr>
          <a:xfrm>
            <a:off x="0" y="5112218"/>
            <a:ext cx="9144000" cy="1745782"/>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ight Triangle 14">
            <a:extLst>
              <a:ext uri="{FF2B5EF4-FFF2-40B4-BE49-F238E27FC236}">
                <a16:creationId xmlns:a16="http://schemas.microsoft.com/office/drawing/2014/main" id="{7DFF0CA6-E303-2348-B796-6D178EB6E4D3}"/>
              </a:ext>
            </a:extLst>
          </p:cNvPr>
          <p:cNvSpPr/>
          <p:nvPr/>
        </p:nvSpPr>
        <p:spPr>
          <a:xfrm flipH="1">
            <a:off x="0" y="4152463"/>
            <a:ext cx="9144000" cy="998377"/>
          </a:xfrm>
          <a:prstGeom prst="rtTriangle">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a:extLst>
              <a:ext uri="{FF2B5EF4-FFF2-40B4-BE49-F238E27FC236}">
                <a16:creationId xmlns:a16="http://schemas.microsoft.com/office/drawing/2014/main" id="{6F7D5242-B4D2-1646-89B9-3E03D1D54BCE}"/>
              </a:ext>
            </a:extLst>
          </p:cNvPr>
          <p:cNvCxnSpPr/>
          <p:nvPr/>
        </p:nvCxnSpPr>
        <p:spPr>
          <a:xfrm flipV="1">
            <a:off x="0" y="4268039"/>
            <a:ext cx="9144000" cy="990786"/>
          </a:xfrm>
          <a:prstGeom prst="line">
            <a:avLst/>
          </a:prstGeom>
          <a:ln w="2540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37E150B4-CE81-B645-B8DD-D661ADB3040F}"/>
              </a:ext>
            </a:extLst>
          </p:cNvPr>
          <p:cNvCxnSpPr/>
          <p:nvPr/>
        </p:nvCxnSpPr>
        <p:spPr>
          <a:xfrm flipV="1">
            <a:off x="0" y="4110728"/>
            <a:ext cx="9144000" cy="995008"/>
          </a:xfrm>
          <a:prstGeom prst="line">
            <a:avLst/>
          </a:prstGeom>
          <a:ln w="698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Subtitle 2"/>
          <p:cNvSpPr>
            <a:spLocks noGrp="1"/>
          </p:cNvSpPr>
          <p:nvPr>
            <p:ph type="subTitle" idx="1"/>
          </p:nvPr>
        </p:nvSpPr>
        <p:spPr>
          <a:xfrm>
            <a:off x="348790" y="5615189"/>
            <a:ext cx="6593548" cy="1077159"/>
          </a:xfrm>
        </p:spPr>
        <p:txBody>
          <a:bodyPr>
            <a:noAutofit/>
          </a:bodyPr>
          <a:lstStyle/>
          <a:p>
            <a:pPr algn="l">
              <a:lnSpc>
                <a:spcPct val="100000"/>
              </a:lnSpc>
              <a:spcBef>
                <a:spcPct val="0"/>
              </a:spcBef>
            </a:pPr>
            <a:r>
              <a:rPr lang="de" sz="2200" b="1" i="0" strike="noStrike" cap="none" spc="0" baseline="0">
                <a:solidFill>
                  <a:srgbClr val="FFFFFF"/>
                </a:solidFill>
                <a:effectLst/>
                <a:latin typeface="Calibri"/>
                <a:ea typeface="Calibri"/>
                <a:cs typeface="Calibri"/>
              </a:rPr>
              <a:t>Verhinderung von Diskriminierung und Belästigung – </a:t>
            </a:r>
            <a:endParaRPr lang="en-US" sz="2200" b="1">
              <a:solidFill>
                <a:schemeClr val="bg1"/>
              </a:solidFill>
            </a:endParaRPr>
          </a:p>
          <a:p>
            <a:pPr algn="l">
              <a:lnSpc>
                <a:spcPct val="100000"/>
              </a:lnSpc>
              <a:spcBef>
                <a:spcPct val="0"/>
              </a:spcBef>
            </a:pPr>
            <a:r>
              <a:rPr lang="de" sz="2200" b="1" i="0" strike="noStrike" cap="none" spc="0" baseline="0">
                <a:solidFill>
                  <a:srgbClr val="FFFFFF"/>
                </a:solidFill>
                <a:effectLst/>
                <a:latin typeface="Calibri"/>
                <a:ea typeface="Calibri"/>
                <a:cs typeface="Calibri"/>
              </a:rPr>
              <a:t>Compliance-Schulung FY24</a:t>
            </a:r>
            <a:endParaRPr lang="en-US" sz="2200">
              <a:solidFill>
                <a:schemeClr val="bg1"/>
              </a:solidFill>
            </a:endParaRPr>
          </a:p>
        </p:txBody>
      </p:sp>
      <p:sp>
        <p:nvSpPr>
          <p:cNvPr id="2" name="TextBox 1">
            <a:extLst>
              <a:ext uri="{FF2B5EF4-FFF2-40B4-BE49-F238E27FC236}">
                <a16:creationId xmlns:a16="http://schemas.microsoft.com/office/drawing/2014/main" id="{6E42425E-A48E-8D44-A86D-85D3E13207A7}"/>
              </a:ext>
            </a:extLst>
          </p:cNvPr>
          <p:cNvSpPr txBox="1"/>
          <p:nvPr/>
        </p:nvSpPr>
        <p:spPr>
          <a:xfrm>
            <a:off x="394768" y="421272"/>
            <a:ext cx="3699545" cy="944880"/>
          </a:xfrm>
          <a:prstGeom prst="rect">
            <a:avLst/>
          </a:prstGeom>
          <a:noFill/>
        </p:spPr>
        <p:txBody>
          <a:bodyPr wrap="square" rtlCol="0">
            <a:spAutoFit/>
          </a:bodyPr>
          <a:lstStyle/>
          <a:p>
            <a:r>
              <a:rPr lang="de" sz="2800" b="1" i="0" strike="noStrike" cap="none" spc="0" baseline="0">
                <a:solidFill>
                  <a:srgbClr val="FFFFFF"/>
                </a:solidFill>
                <a:effectLst>
                  <a:outerShdw blurRad="50800" dist="38100" dir="2700000" algn="tl" rotWithShape="0">
                    <a:srgbClr val="000000">
                      <a:alpha val="40000"/>
                    </a:srgbClr>
                  </a:outerShdw>
                </a:effectLst>
                <a:latin typeface="Calibri"/>
                <a:ea typeface="Calibri"/>
                <a:cs typeface="Calibri"/>
              </a:rPr>
              <a:t>DER WERT VON 168</a:t>
            </a:r>
          </a:p>
        </p:txBody>
      </p:sp>
      <p:cxnSp>
        <p:nvCxnSpPr>
          <p:cNvPr id="10" name="Straight Connector 9">
            <a:extLst>
              <a:ext uri="{FF2B5EF4-FFF2-40B4-BE49-F238E27FC236}">
                <a16:creationId xmlns:a16="http://schemas.microsoft.com/office/drawing/2014/main" id="{D81D68DD-7A28-DF47-ABBD-D69140B4E63D}"/>
              </a:ext>
            </a:extLst>
          </p:cNvPr>
          <p:cNvCxnSpPr/>
          <p:nvPr/>
        </p:nvCxnSpPr>
        <p:spPr>
          <a:xfrm>
            <a:off x="397564" y="921937"/>
            <a:ext cx="28291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A09E664D-F33C-9D48-8022-9E0FE5BA7636}"/>
              </a:ext>
            </a:extLst>
          </p:cNvPr>
          <p:cNvPicPr>
            <a:picLocks noChangeAspect="1"/>
          </p:cNvPicPr>
          <p:nvPr/>
        </p:nvPicPr>
        <p:blipFill>
          <a:blip r:embed="rId5"/>
          <a:stretch>
            <a:fillRect/>
          </a:stretch>
        </p:blipFill>
        <p:spPr>
          <a:xfrm>
            <a:off x="7295029" y="366842"/>
            <a:ext cx="1194670" cy="574062"/>
          </a:xfrm>
          <a:prstGeom prst="rect">
            <a:avLst/>
          </a:prstGeom>
        </p:spPr>
      </p:pic>
      <p:cxnSp>
        <p:nvCxnSpPr>
          <p:cNvPr id="20" name="Straight Connector 19">
            <a:extLst>
              <a:ext uri="{FF2B5EF4-FFF2-40B4-BE49-F238E27FC236}">
                <a16:creationId xmlns:a16="http://schemas.microsoft.com/office/drawing/2014/main" id="{8B091654-56DC-5146-B9A1-A4907B645E15}"/>
              </a:ext>
            </a:extLst>
          </p:cNvPr>
          <p:cNvCxnSpPr>
            <a:stCxn id="15" idx="0"/>
          </p:cNvCxnSpPr>
          <p:nvPr/>
        </p:nvCxnSpPr>
        <p:spPr>
          <a:xfrm flipH="1">
            <a:off x="9144000" y="4152463"/>
            <a:ext cx="0" cy="336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086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FB64-517A-045C-1638-7D89A7730C94}"/>
              </a:ext>
            </a:extLst>
          </p:cNvPr>
          <p:cNvSpPr>
            <a:spLocks noGrp="1"/>
          </p:cNvSpPr>
          <p:nvPr>
            <p:ph type="title"/>
          </p:nvPr>
        </p:nvSpPr>
        <p:spPr>
          <a:xfrm>
            <a:off x="822960" y="182880"/>
            <a:ext cx="7358907" cy="787032"/>
          </a:xfrm>
        </p:spPr>
        <p:txBody>
          <a:bodyPr vert="horz" lIns="91440" tIns="45720" rIns="91440" bIns="45720" rtlCol="0" anchor="ctr">
            <a:normAutofit/>
          </a:bodyPr>
          <a:lstStyle/>
          <a:p>
            <a:r>
              <a:rPr lang="de" sz="2000" b="0" i="0" strike="noStrike" cap="none" spc="0" baseline="0">
                <a:solidFill>
                  <a:srgbClr val="FFFFFF"/>
                </a:solidFill>
                <a:effectLst/>
                <a:latin typeface="Calibri Light"/>
                <a:ea typeface="Calibri Light"/>
                <a:cs typeface="Calibri Light"/>
              </a:rPr>
              <a:t>Geschlechts-Stereotypen</a:t>
            </a:r>
          </a:p>
        </p:txBody>
      </p:sp>
      <p:sp>
        <p:nvSpPr>
          <p:cNvPr id="5" name="Slide Number Placeholder 4">
            <a:extLst>
              <a:ext uri="{FF2B5EF4-FFF2-40B4-BE49-F238E27FC236}">
                <a16:creationId xmlns:a16="http://schemas.microsoft.com/office/drawing/2014/main" id="{DDE65E14-FCB1-3B13-D835-D59B6037D225}"/>
              </a:ext>
            </a:extLst>
          </p:cNvPr>
          <p:cNvSpPr>
            <a:spLocks noGrp="1"/>
          </p:cNvSpPr>
          <p:nvPr>
            <p:ph type="sldNum" sz="quarter" idx="4"/>
          </p:nvPr>
        </p:nvSpPr>
        <p:spPr>
          <a:xfrm>
            <a:off x="8663437" y="6558353"/>
            <a:ext cx="480561" cy="365125"/>
          </a:xfrm>
        </p:spPr>
        <p:txBody>
          <a:bodyPr vert="horz" lIns="91440" tIns="45720" rIns="91440" bIns="45720" rtlCol="0" anchor="ctr">
            <a:normAutofit/>
          </a:bodyPr>
          <a:lstStyle/>
          <a:p>
            <a:pPr>
              <a:spcAft>
                <a:spcPts val="600"/>
              </a:spcAft>
            </a:pPr>
            <a:fld id="{BB5FC4A1-A2DE-4EB5-9A46-57D39B4235EC}" type="slidenum">
              <a:rPr lang="en-US" smtClean="0"/>
              <a:pPr>
                <a:spcAft>
                  <a:spcPts val="600"/>
                </a:spcAft>
              </a:pPr>
              <a:t>10</a:t>
            </a:fld>
            <a:endParaRPr lang="en-US"/>
          </a:p>
        </p:txBody>
      </p:sp>
      <p:graphicFrame>
        <p:nvGraphicFramePr>
          <p:cNvPr id="13" name="TextBox 9">
            <a:extLst>
              <a:ext uri="{FF2B5EF4-FFF2-40B4-BE49-F238E27FC236}">
                <a16:creationId xmlns:a16="http://schemas.microsoft.com/office/drawing/2014/main" id="{A605F809-B93D-1529-EAB4-05210895DD47}"/>
              </a:ext>
            </a:extLst>
          </p:cNvPr>
          <p:cNvGraphicFramePr/>
          <p:nvPr>
            <p:extLst>
              <p:ext uri="{D42A27DB-BD31-4B8C-83A1-F6EECF244321}">
                <p14:modId xmlns:p14="http://schemas.microsoft.com/office/powerpoint/2010/main" val="154447804"/>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29028075"/>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F7C06-45B6-945D-F08D-4AAB8492661B}"/>
              </a:ext>
            </a:extLst>
          </p:cNvPr>
          <p:cNvSpPr>
            <a:spLocks noGrp="1"/>
          </p:cNvSpPr>
          <p:nvPr>
            <p:ph type="ctrTitle"/>
          </p:nvPr>
        </p:nvSpPr>
        <p:spPr>
          <a:xfrm>
            <a:off x="1143000" y="1122363"/>
            <a:ext cx="6858000" cy="2387600"/>
          </a:xfrm>
        </p:spPr>
        <p:txBody>
          <a:bodyPr anchor="b">
            <a:normAutofit/>
          </a:bodyPr>
          <a:lstStyle/>
          <a:p>
            <a:r>
              <a:rPr lang="de" sz="4500" b="0" i="0" strike="noStrike" cap="none" spc="0" baseline="0">
                <a:solidFill>
                  <a:srgbClr val="000000"/>
                </a:solidFill>
                <a:effectLst/>
                <a:latin typeface="Calibri Light"/>
                <a:ea typeface="Calibri Light"/>
                <a:cs typeface="Calibri Light"/>
              </a:rPr>
              <a:t>RICHTIG ODER FALSCH?</a:t>
            </a:r>
          </a:p>
        </p:txBody>
      </p:sp>
      <p:sp>
        <p:nvSpPr>
          <p:cNvPr id="3" name="Content Placeholder 2">
            <a:extLst>
              <a:ext uri="{FF2B5EF4-FFF2-40B4-BE49-F238E27FC236}">
                <a16:creationId xmlns:a16="http://schemas.microsoft.com/office/drawing/2014/main" id="{D9823FF2-551E-7D6F-6CCD-EA59870F378E}"/>
              </a:ext>
            </a:extLst>
          </p:cNvPr>
          <p:cNvSpPr>
            <a:spLocks noGrp="1"/>
          </p:cNvSpPr>
          <p:nvPr>
            <p:ph type="subTitle" idx="1"/>
          </p:nvPr>
        </p:nvSpPr>
        <p:spPr>
          <a:xfrm>
            <a:off x="1143000" y="3602038"/>
            <a:ext cx="6858000" cy="1655762"/>
          </a:xfrm>
        </p:spPr>
        <p:txBody>
          <a:bodyPr>
            <a:normAutofit/>
          </a:bodyPr>
          <a:lstStyle/>
          <a:p>
            <a:pPr marL="0" indent="0">
              <a:buNone/>
            </a:pPr>
            <a:r>
              <a:rPr lang="de" sz="1800" b="0" i="0" strike="noStrike" cap="none" spc="0" baseline="0">
                <a:solidFill>
                  <a:srgbClr val="000000"/>
                </a:solidFill>
                <a:effectLst/>
                <a:latin typeface="Calibri"/>
                <a:ea typeface="Calibri"/>
                <a:cs typeface="Calibri"/>
              </a:rPr>
              <a:t>Belästigung, einschließlich sexueller Belästigung, ist in der Regel nur ein Problem für die Person, die durch das unangemessene Verhalten angegriffen wird.</a:t>
            </a:r>
          </a:p>
        </p:txBody>
      </p:sp>
      <p:sp>
        <p:nvSpPr>
          <p:cNvPr id="5" name="Slide Number Placeholder 4" hidden="1">
            <a:extLst>
              <a:ext uri="{FF2B5EF4-FFF2-40B4-BE49-F238E27FC236}">
                <a16:creationId xmlns:a16="http://schemas.microsoft.com/office/drawing/2014/main" id="{887C8EDA-FA8D-283E-29C1-6B273725AD73}"/>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11</a:t>
            </a:fld>
            <a:endParaRPr lang="en-US"/>
          </a:p>
        </p:txBody>
      </p:sp>
    </p:spTree>
    <p:extLst>
      <p:ext uri="{BB962C8B-B14F-4D97-AF65-F5344CB8AC3E}">
        <p14:creationId xmlns:p14="http://schemas.microsoft.com/office/powerpoint/2010/main" val="639071407"/>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5B0CF-AD71-9F8C-FFBD-862027E1DE85}"/>
              </a:ext>
            </a:extLst>
          </p:cNvPr>
          <p:cNvSpPr>
            <a:spLocks noGrp="1"/>
          </p:cNvSpPr>
          <p:nvPr>
            <p:ph type="ctrTitle"/>
          </p:nvPr>
        </p:nvSpPr>
        <p:spPr>
          <a:xfrm>
            <a:off x="1143000" y="1122363"/>
            <a:ext cx="6858000" cy="2387600"/>
          </a:xfrm>
        </p:spPr>
        <p:txBody>
          <a:bodyPr anchor="b">
            <a:normAutofit/>
          </a:bodyPr>
          <a:lstStyle/>
          <a:p>
            <a:r>
              <a:rPr lang="de" sz="4500" b="0" i="0" strike="noStrike" cap="none" spc="0" baseline="0">
                <a:solidFill>
                  <a:srgbClr val="000000"/>
                </a:solidFill>
                <a:effectLst/>
                <a:latin typeface="Calibri Light"/>
                <a:ea typeface="Calibri Light"/>
                <a:cs typeface="Calibri Light"/>
              </a:rPr>
              <a:t>Antwort...</a:t>
            </a:r>
          </a:p>
        </p:txBody>
      </p:sp>
      <p:sp>
        <p:nvSpPr>
          <p:cNvPr id="3" name="Content Placeholder 2">
            <a:extLst>
              <a:ext uri="{FF2B5EF4-FFF2-40B4-BE49-F238E27FC236}">
                <a16:creationId xmlns:a16="http://schemas.microsoft.com/office/drawing/2014/main" id="{800FB85F-FAA5-6EF4-2934-3E9F00A24524}"/>
              </a:ext>
            </a:extLst>
          </p:cNvPr>
          <p:cNvSpPr>
            <a:spLocks noGrp="1"/>
          </p:cNvSpPr>
          <p:nvPr>
            <p:ph type="subTitle" idx="1"/>
          </p:nvPr>
        </p:nvSpPr>
        <p:spPr>
          <a:xfrm>
            <a:off x="1143000" y="3602038"/>
            <a:ext cx="6858000" cy="1655762"/>
          </a:xfrm>
        </p:spPr>
        <p:txBody>
          <a:bodyPr>
            <a:normAutofit fontScale="95000" lnSpcReduction="10000"/>
          </a:bodyPr>
          <a:lstStyle/>
          <a:p>
            <a:pPr marL="0" indent="0">
              <a:buNone/>
            </a:pPr>
            <a:r>
              <a:rPr lang="de" sz="1800" b="0" i="0" strike="noStrike" cap="none" spc="0" baseline="0">
                <a:solidFill>
                  <a:srgbClr val="000000"/>
                </a:solidFill>
                <a:effectLst/>
                <a:latin typeface="Calibri"/>
                <a:ea typeface="Calibri"/>
                <a:cs typeface="Calibri"/>
              </a:rPr>
              <a:t>Die obige Aussage ist </a:t>
            </a:r>
            <a:r>
              <a:rPr lang="de" sz="1800" b="0" i="0" strike="noStrike" cap="none" spc="0" baseline="0">
                <a:solidFill>
                  <a:srgbClr val="FF0000"/>
                </a:solidFill>
                <a:effectLst/>
                <a:latin typeface="Calibri"/>
                <a:ea typeface="Calibri"/>
                <a:cs typeface="Calibri"/>
              </a:rPr>
              <a:t>falsch.</a:t>
            </a:r>
          </a:p>
          <a:p>
            <a:pPr marL="0" indent="0">
              <a:buNone/>
            </a:pPr>
            <a:endParaRPr lang="en-GB">
              <a:solidFill>
                <a:srgbClr val="FF0000"/>
              </a:solidFill>
            </a:endParaRPr>
          </a:p>
          <a:p>
            <a:pPr marL="0" indent="0">
              <a:buNone/>
            </a:pPr>
            <a:r>
              <a:rPr lang="de" sz="1800" b="0" i="0" strike="noStrike" cap="none" spc="0" baseline="0">
                <a:solidFill>
                  <a:srgbClr val="000000"/>
                </a:solidFill>
                <a:effectLst/>
                <a:latin typeface="Calibri"/>
                <a:ea typeface="Calibri"/>
                <a:cs typeface="Calibri"/>
              </a:rPr>
              <a:t>Belästigung wirkt sich auf das Ziel des unangemessenen Verhaltens aus. Aber es wirkt sich auch auf andere aus – und sendet eine Botschaft darüber, was am Arbeitsplatz in Ordnung ist und was nicht, an jemanden, der es sieht oder davon erfährt</a:t>
            </a:r>
          </a:p>
        </p:txBody>
      </p:sp>
      <p:sp>
        <p:nvSpPr>
          <p:cNvPr id="4" name="Date Placeholder 3" hidden="1">
            <a:extLst>
              <a:ext uri="{FF2B5EF4-FFF2-40B4-BE49-F238E27FC236}">
                <a16:creationId xmlns:a16="http://schemas.microsoft.com/office/drawing/2014/main" id="{721FA72F-4212-FE12-1424-62C3FEE3D4ED}"/>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38CE618F-A5D6-E7C6-2EA4-C0E26217EC3E}"/>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12</a:t>
            </a:fld>
            <a:endParaRPr lang="en-US"/>
          </a:p>
        </p:txBody>
      </p:sp>
    </p:spTree>
    <p:extLst>
      <p:ext uri="{BB962C8B-B14F-4D97-AF65-F5344CB8AC3E}">
        <p14:creationId xmlns:p14="http://schemas.microsoft.com/office/powerpoint/2010/main" val="4165849477"/>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189488-AD7C-C86B-4344-F39C58EFA7B1}"/>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de" sz="2000" b="0" i="0" strike="noStrike" cap="none" spc="0" baseline="0">
                <a:solidFill>
                  <a:srgbClr val="FFFFFF"/>
                </a:solidFill>
                <a:effectLst/>
                <a:latin typeface="Calibri Light"/>
                <a:ea typeface="Calibri Light"/>
                <a:cs typeface="Calibri Light"/>
              </a:rPr>
              <a:t>Sexuelle Belästigung – können Sie sie erkennen? </a:t>
            </a:r>
          </a:p>
        </p:txBody>
      </p:sp>
      <p:sp>
        <p:nvSpPr>
          <p:cNvPr id="5" name="Slide Number Placeholder 4" hidden="1">
            <a:extLst>
              <a:ext uri="{FF2B5EF4-FFF2-40B4-BE49-F238E27FC236}">
                <a16:creationId xmlns:a16="http://schemas.microsoft.com/office/drawing/2014/main" id="{2A181491-B689-7B55-6950-8F5EF03E8E80}"/>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13</a:t>
            </a:fld>
            <a:endParaRPr lang="en-US"/>
          </a:p>
        </p:txBody>
      </p:sp>
      <p:graphicFrame>
        <p:nvGraphicFramePr>
          <p:cNvPr id="8" name="TextBox 5">
            <a:extLst>
              <a:ext uri="{FF2B5EF4-FFF2-40B4-BE49-F238E27FC236}">
                <a16:creationId xmlns:a16="http://schemas.microsoft.com/office/drawing/2014/main" id="{25435880-DE83-4AE6-0C0C-E8BEDD12548D}"/>
              </a:ext>
            </a:extLst>
          </p:cNvPr>
          <p:cNvGraphicFramePr/>
          <p:nvPr>
            <p:extLst>
              <p:ext uri="{D42A27DB-BD31-4B8C-83A1-F6EECF244321}">
                <p14:modId xmlns:p14="http://schemas.microsoft.com/office/powerpoint/2010/main" val="966916142"/>
              </p:ext>
            </p:extLst>
          </p:nvPr>
        </p:nvGraphicFramePr>
        <p:xfrm>
          <a:off x="628650" y="2203704"/>
          <a:ext cx="7866126" cy="44404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72F99416-9CFC-4A6D-56C2-F38A9754D7B6}"/>
              </a:ext>
            </a:extLst>
          </p:cNvPr>
          <p:cNvSpPr txBox="1"/>
          <p:nvPr/>
        </p:nvSpPr>
        <p:spPr>
          <a:xfrm>
            <a:off x="628650" y="1765218"/>
            <a:ext cx="8282178" cy="640080"/>
          </a:xfrm>
          <a:prstGeom prst="rect">
            <a:avLst/>
          </a:prstGeom>
          <a:noFill/>
        </p:spPr>
        <p:txBody>
          <a:bodyPr wrap="square">
            <a:spAutoFit/>
          </a:bodyPr>
          <a:lstStyle/>
          <a:p>
            <a:pPr marL="0"/>
            <a:r>
              <a:rPr lang="de" sz="1800" b="0" i="0" strike="noStrike" cap="none" spc="0" baseline="0">
                <a:solidFill>
                  <a:srgbClr val="000000"/>
                </a:solidFill>
                <a:effectLst/>
                <a:latin typeface="Calibri"/>
                <a:ea typeface="Calibri"/>
                <a:cs typeface="Calibri"/>
              </a:rPr>
              <a:t>Jeder kann sich an sexueller Belästigung beteiligen und jeder kann das Ziel sein, einschließlich:</a:t>
            </a:r>
          </a:p>
        </p:txBody>
      </p:sp>
    </p:spTree>
    <p:extLst>
      <p:ext uri="{BB962C8B-B14F-4D97-AF65-F5344CB8AC3E}">
        <p14:creationId xmlns:p14="http://schemas.microsoft.com/office/powerpoint/2010/main" val="969127443"/>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D89D8-C4F0-F31B-727F-15B2F6DC5152}"/>
              </a:ext>
            </a:extLst>
          </p:cNvPr>
          <p:cNvSpPr>
            <a:spLocks noGrp="1"/>
          </p:cNvSpPr>
          <p:nvPr>
            <p:ph type="title"/>
          </p:nvPr>
        </p:nvSpPr>
        <p:spPr/>
        <p:txBody>
          <a:bodyPr/>
          <a:lstStyle/>
          <a:p>
            <a:r>
              <a:rPr lang="de" sz="2000" b="0" i="0" strike="noStrike" cap="none" spc="0" baseline="0">
                <a:solidFill>
                  <a:srgbClr val="FFFFFF"/>
                </a:solidFill>
                <a:effectLst/>
                <a:latin typeface="Calibri Light"/>
                <a:ea typeface="Calibri Light"/>
                <a:cs typeface="Calibri Light"/>
              </a:rPr>
              <a:t>Unangemessene Sprache und Kommentare</a:t>
            </a:r>
          </a:p>
        </p:txBody>
      </p:sp>
      <p:sp>
        <p:nvSpPr>
          <p:cNvPr id="3" name="Content Placeholder 2">
            <a:extLst>
              <a:ext uri="{FF2B5EF4-FFF2-40B4-BE49-F238E27FC236}">
                <a16:creationId xmlns:a16="http://schemas.microsoft.com/office/drawing/2014/main" id="{7A675047-B99C-FF66-70F8-F831DAF17610}"/>
              </a:ext>
            </a:extLst>
          </p:cNvPr>
          <p:cNvSpPr>
            <a:spLocks noGrp="1"/>
          </p:cNvSpPr>
          <p:nvPr>
            <p:ph idx="1"/>
          </p:nvPr>
        </p:nvSpPr>
        <p:spPr/>
        <p:txBody>
          <a:bodyPr>
            <a:normAutofit fontScale="92500" lnSpcReduction="10000"/>
          </a:bodyPr>
          <a:lstStyle/>
          <a:p>
            <a:pPr marL="0" indent="0">
              <a:buNone/>
            </a:pPr>
            <a:r>
              <a:rPr lang="de" sz="2100" b="0" i="0" strike="noStrike" cap="none" spc="0" baseline="0">
                <a:solidFill>
                  <a:srgbClr val="000000"/>
                </a:solidFill>
                <a:effectLst/>
                <a:latin typeface="Calibri"/>
                <a:ea typeface="Calibri"/>
                <a:cs typeface="Calibri"/>
              </a:rPr>
              <a:t>Sind diese Szenarien unangemessen?</a:t>
            </a:r>
          </a:p>
          <a:p>
            <a:endParaRPr lang="en-GB"/>
          </a:p>
          <a:p>
            <a:pPr marL="685775" lvl="1" indent="-342900">
              <a:buFont typeface="+mj-lt"/>
              <a:buAutoNum type="arabicPeriod"/>
            </a:pPr>
            <a:r>
              <a:rPr lang="de" sz="1800" b="0" i="0" strike="noStrike" cap="none" spc="0" baseline="0">
                <a:solidFill>
                  <a:srgbClr val="000000"/>
                </a:solidFill>
                <a:effectLst/>
                <a:latin typeface="Calibri"/>
                <a:ea typeface="Calibri"/>
                <a:cs typeface="Calibri"/>
              </a:rPr>
              <a:t>Ein Anbieter wendet sich ohne Erlaubnis an das Gesicht eines anderen Mitarbeiters, um eine Wimpern zu entfernen.</a:t>
            </a:r>
          </a:p>
          <a:p>
            <a:pPr marL="685775" lvl="1" indent="-342900">
              <a:buFont typeface="+mj-lt"/>
              <a:buAutoNum type="arabicPeriod"/>
            </a:pPr>
            <a:r>
              <a:rPr lang="de" sz="1800" b="0" i="0" strike="noStrike" cap="none" spc="0" baseline="0">
                <a:solidFill>
                  <a:srgbClr val="000000"/>
                </a:solidFill>
                <a:effectLst/>
                <a:latin typeface="Calibri"/>
                <a:ea typeface="Calibri"/>
                <a:cs typeface="Calibri"/>
              </a:rPr>
              <a:t>Ein Manager ermutigt einen Mitarbeiter, seine „weiblichen Charms“ zu verwenden, um in einem Meeting ein Thema zu sein.</a:t>
            </a:r>
          </a:p>
          <a:p>
            <a:pPr marL="685775" lvl="1" indent="-342900">
              <a:buFont typeface="+mj-lt"/>
              <a:buAutoNum type="arabicPeriod"/>
            </a:pPr>
            <a:r>
              <a:rPr lang="de" sz="1800" b="0" i="0" strike="noStrike" cap="none" spc="0" baseline="0">
                <a:solidFill>
                  <a:srgbClr val="000000"/>
                </a:solidFill>
                <a:effectLst/>
                <a:latin typeface="Calibri"/>
                <a:ea typeface="Calibri"/>
                <a:cs typeface="Calibri"/>
              </a:rPr>
              <a:t>Ein Kollege kommentiert den nicht-binären Status eines Kunden ... „Es ist nur ein Trend“ ... „Er, sie, sie ... Oh was auch immer!“</a:t>
            </a:r>
          </a:p>
          <a:p>
            <a:pPr lvl="1"/>
            <a:endParaRPr lang="en-GB"/>
          </a:p>
          <a:p>
            <a:pPr marL="342875" lvl="1" indent="0">
              <a:buNone/>
            </a:pPr>
            <a:r>
              <a:rPr lang="de" sz="1800" b="0" i="0" strike="noStrike" cap="none" spc="0" baseline="0">
                <a:solidFill>
                  <a:srgbClr val="000000"/>
                </a:solidFill>
                <a:effectLst/>
                <a:latin typeface="Calibri"/>
                <a:ea typeface="Calibri"/>
                <a:cs typeface="Calibri"/>
              </a:rPr>
              <a:t>ANTWORTEN ... </a:t>
            </a:r>
            <a:r>
              <a:rPr lang="de" sz="1800" b="1" i="0" strike="noStrike" cap="none" spc="0" baseline="0">
                <a:solidFill>
                  <a:srgbClr val="FF0000"/>
                </a:solidFill>
                <a:effectLst/>
                <a:latin typeface="Calibri"/>
                <a:ea typeface="Calibri"/>
                <a:cs typeface="Calibri"/>
              </a:rPr>
              <a:t>JA! </a:t>
            </a:r>
          </a:p>
          <a:p>
            <a:pPr marL="342875" lvl="1" indent="0">
              <a:buNone/>
            </a:pPr>
            <a:endParaRPr lang="en-GB" b="1">
              <a:solidFill>
                <a:srgbClr val="FF0000"/>
              </a:solidFill>
            </a:endParaRPr>
          </a:p>
          <a:p>
            <a:pPr marL="342875" lvl="1" indent="0">
              <a:buNone/>
            </a:pPr>
            <a:r>
              <a:rPr lang="de" sz="1800" b="0" i="0" strike="noStrike" cap="none" spc="0" baseline="0">
                <a:solidFill>
                  <a:srgbClr val="000000"/>
                </a:solidFill>
                <a:effectLst/>
                <a:latin typeface="Calibri"/>
                <a:ea typeface="Calibri"/>
                <a:cs typeface="Calibri"/>
              </a:rPr>
              <a:t>Denken Sie daran ... Sexuelle Belästigung kann unerwünschtes oder anstößiges Verhalten umfassen, das sich an Folgendes richtet:</a:t>
            </a:r>
          </a:p>
          <a:p>
            <a:pPr marL="342875" lvl="1" indent="0">
              <a:buNone/>
            </a:pPr>
            <a:endParaRPr lang="en-GB"/>
          </a:p>
          <a:p>
            <a:pPr marL="342875" lvl="1" indent="0">
              <a:buNone/>
            </a:pPr>
            <a:r>
              <a:rPr lang="de" sz="1800" b="0" i="0" strike="noStrike" cap="none" spc="0" baseline="0">
                <a:solidFill>
                  <a:srgbClr val="000000"/>
                </a:solidFill>
                <a:effectLst/>
                <a:latin typeface="Calibri"/>
                <a:ea typeface="Calibri"/>
                <a:cs typeface="Calibri"/>
              </a:rPr>
              <a:t>	- Geschlechtsidentität</a:t>
            </a:r>
          </a:p>
          <a:p>
            <a:pPr marL="342875" lvl="1" indent="0">
              <a:buNone/>
            </a:pPr>
            <a:r>
              <a:rPr lang="de" sz="1800" b="0" i="0" strike="noStrike" cap="none" spc="0" baseline="0">
                <a:solidFill>
                  <a:srgbClr val="000000"/>
                </a:solidFill>
                <a:effectLst/>
                <a:latin typeface="Calibri"/>
                <a:ea typeface="Calibri"/>
                <a:cs typeface="Calibri"/>
              </a:rPr>
              <a:t>	- Geschlechtsausdruck </a:t>
            </a:r>
          </a:p>
          <a:p>
            <a:pPr marL="342875" lvl="1" indent="0">
              <a:buNone/>
            </a:pPr>
            <a:r>
              <a:rPr lang="de" sz="1800" b="0" i="0" strike="noStrike" cap="none" spc="0" baseline="0">
                <a:solidFill>
                  <a:srgbClr val="000000"/>
                </a:solidFill>
                <a:effectLst/>
                <a:latin typeface="Calibri"/>
                <a:ea typeface="Calibri"/>
                <a:cs typeface="Calibri"/>
              </a:rPr>
              <a:t>	- Transgender-Status</a:t>
            </a:r>
          </a:p>
          <a:p>
            <a:pPr marL="342875" lvl="1" indent="0">
              <a:buNone/>
            </a:pPr>
            <a:r>
              <a:rPr lang="de" sz="1800" b="0" i="0" strike="noStrike" cap="none" spc="0" baseline="0">
                <a:solidFill>
                  <a:srgbClr val="000000"/>
                </a:solidFill>
                <a:effectLst/>
                <a:latin typeface="Calibri"/>
                <a:ea typeface="Calibri"/>
                <a:cs typeface="Calibri"/>
              </a:rPr>
              <a:t>	- Sexuelle Orientierung</a:t>
            </a:r>
          </a:p>
        </p:txBody>
      </p:sp>
      <p:sp>
        <p:nvSpPr>
          <p:cNvPr id="5" name="Slide Number Placeholder 4">
            <a:extLst>
              <a:ext uri="{FF2B5EF4-FFF2-40B4-BE49-F238E27FC236}">
                <a16:creationId xmlns:a16="http://schemas.microsoft.com/office/drawing/2014/main" id="{D8B0E1BA-5FF0-2785-4FDB-357BAF0F1F4A}"/>
              </a:ext>
            </a:extLst>
          </p:cNvPr>
          <p:cNvSpPr>
            <a:spLocks noGrp="1"/>
          </p:cNvSpPr>
          <p:nvPr>
            <p:ph type="sldNum" sz="quarter" idx="4"/>
          </p:nvPr>
        </p:nvSpPr>
        <p:spPr/>
        <p:txBody>
          <a:bodyPr/>
          <a:lstStyle/>
          <a:p>
            <a:fld id="{BB5FC4A1-A2DE-4EB5-9A46-57D39B4235EC}" type="slidenum">
              <a:rPr lang="en-US" smtClean="0"/>
              <a:t>14</a:t>
            </a:fld>
            <a:endParaRPr lang="en-US"/>
          </a:p>
        </p:txBody>
      </p:sp>
    </p:spTree>
    <p:extLst>
      <p:ext uri="{BB962C8B-B14F-4D97-AF65-F5344CB8AC3E}">
        <p14:creationId xmlns:p14="http://schemas.microsoft.com/office/powerpoint/2010/main" val="419902646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8" end="8"/>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10" end="1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11" end="1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12" end="1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3BD99-728D-2A6F-22A6-5226E04A7CAF}"/>
              </a:ext>
            </a:extLst>
          </p:cNvPr>
          <p:cNvSpPr>
            <a:spLocks noGrp="1"/>
          </p:cNvSpPr>
          <p:nvPr>
            <p:ph type="title"/>
          </p:nvPr>
        </p:nvSpPr>
        <p:spPr/>
        <p:txBody>
          <a:bodyPr/>
          <a:lstStyle/>
          <a:p>
            <a:r>
              <a:rPr lang="de" sz="2000" b="0" i="0" strike="noStrike" cap="none" spc="0" baseline="0">
                <a:solidFill>
                  <a:srgbClr val="FFFFFF"/>
                </a:solidFill>
                <a:effectLst/>
                <a:latin typeface="Calibri Light"/>
                <a:ea typeface="Calibri Light"/>
                <a:cs typeface="Calibri Light"/>
              </a:rPr>
              <a:t>Feindseliges Arbeitsumfeld</a:t>
            </a:r>
          </a:p>
        </p:txBody>
      </p:sp>
      <p:sp>
        <p:nvSpPr>
          <p:cNvPr id="5" name="Slide Number Placeholder 4">
            <a:extLst>
              <a:ext uri="{FF2B5EF4-FFF2-40B4-BE49-F238E27FC236}">
                <a16:creationId xmlns:a16="http://schemas.microsoft.com/office/drawing/2014/main" id="{010333A6-3546-C11B-87C7-BE48050D68A8}"/>
              </a:ext>
            </a:extLst>
          </p:cNvPr>
          <p:cNvSpPr>
            <a:spLocks noGrp="1"/>
          </p:cNvSpPr>
          <p:nvPr>
            <p:ph type="sldNum" sz="quarter" idx="4"/>
          </p:nvPr>
        </p:nvSpPr>
        <p:spPr/>
        <p:txBody>
          <a:bodyPr/>
          <a:lstStyle/>
          <a:p>
            <a:fld id="{BB5FC4A1-A2DE-4EB5-9A46-57D39B4235EC}" type="slidenum">
              <a:rPr lang="en-US" smtClean="0"/>
              <a:t>15</a:t>
            </a:fld>
            <a:endParaRPr lang="en-US"/>
          </a:p>
        </p:txBody>
      </p:sp>
      <p:sp>
        <p:nvSpPr>
          <p:cNvPr id="8" name="TextBox 7">
            <a:extLst>
              <a:ext uri="{FF2B5EF4-FFF2-40B4-BE49-F238E27FC236}">
                <a16:creationId xmlns:a16="http://schemas.microsoft.com/office/drawing/2014/main" id="{A15DFE61-20E0-D5EC-D0CE-22F6BE2E082B}"/>
              </a:ext>
            </a:extLst>
          </p:cNvPr>
          <p:cNvSpPr txBox="1"/>
          <p:nvPr/>
        </p:nvSpPr>
        <p:spPr>
          <a:xfrm>
            <a:off x="371440" y="6206577"/>
            <a:ext cx="8261946" cy="640080"/>
          </a:xfrm>
          <a:prstGeom prst="rect">
            <a:avLst/>
          </a:prstGeom>
          <a:noFill/>
        </p:spPr>
        <p:txBody>
          <a:bodyPr wrap="square" rtlCol="0">
            <a:spAutoFit/>
          </a:bodyPr>
          <a:lstStyle/>
          <a:p>
            <a:pPr algn="ctr"/>
            <a:r>
              <a:rPr lang="de" sz="1800" b="0" i="0" strike="noStrike" cap="none" spc="0" baseline="0" dirty="0">
                <a:solidFill>
                  <a:srgbClr val="FF0000"/>
                </a:solidFill>
                <a:effectLst/>
                <a:latin typeface="Calibri"/>
                <a:ea typeface="Calibri"/>
                <a:cs typeface="Calibri"/>
              </a:rPr>
              <a:t>Verwenden Sie immer Ihr bestes Urteilsvermögen, um sicherzustellen, dass Ihr Verhalten respektvoll ist</a:t>
            </a:r>
          </a:p>
        </p:txBody>
      </p:sp>
      <p:sp>
        <p:nvSpPr>
          <p:cNvPr id="3" name="TextBox 2">
            <a:extLst>
              <a:ext uri="{FF2B5EF4-FFF2-40B4-BE49-F238E27FC236}">
                <a16:creationId xmlns:a16="http://schemas.microsoft.com/office/drawing/2014/main" id="{47710745-2062-F17B-E90E-EA2A4D39D9B6}"/>
              </a:ext>
            </a:extLst>
          </p:cNvPr>
          <p:cNvSpPr txBox="1"/>
          <p:nvPr/>
        </p:nvSpPr>
        <p:spPr>
          <a:xfrm>
            <a:off x="822960" y="1528468"/>
            <a:ext cx="7847861" cy="640080"/>
          </a:xfrm>
          <a:prstGeom prst="rect">
            <a:avLst/>
          </a:prstGeom>
          <a:noFill/>
        </p:spPr>
        <p:txBody>
          <a:bodyPr wrap="square" rtlCol="0">
            <a:spAutoFit/>
          </a:bodyPr>
          <a:lstStyle/>
          <a:p>
            <a:r>
              <a:rPr lang="de" sz="1800" b="0" i="0" strike="noStrike" cap="none" spc="0" baseline="0">
                <a:solidFill>
                  <a:srgbClr val="000000"/>
                </a:solidFill>
                <a:effectLst/>
                <a:latin typeface="Calibri"/>
                <a:ea typeface="Calibri"/>
                <a:cs typeface="Calibri"/>
              </a:rPr>
              <a:t>Beispiele für Verhaltensweisen, die zu einem feindseligen Arbeitsumfeld führen können, sind ...</a:t>
            </a:r>
          </a:p>
        </p:txBody>
      </p:sp>
      <p:graphicFrame>
        <p:nvGraphicFramePr>
          <p:cNvPr id="4" name="Diagram 3">
            <a:extLst>
              <a:ext uri="{FF2B5EF4-FFF2-40B4-BE49-F238E27FC236}">
                <a16:creationId xmlns:a16="http://schemas.microsoft.com/office/drawing/2014/main" id="{F066EC6C-DCB6-3357-ABD4-0298BB5F32F6}"/>
              </a:ext>
            </a:extLst>
          </p:cNvPr>
          <p:cNvGraphicFramePr/>
          <p:nvPr>
            <p:extLst>
              <p:ext uri="{D42A27DB-BD31-4B8C-83A1-F6EECF244321}">
                <p14:modId xmlns:p14="http://schemas.microsoft.com/office/powerpoint/2010/main" val="742057356"/>
              </p:ext>
            </p:extLst>
          </p:nvPr>
        </p:nvGraphicFramePr>
        <p:xfrm>
          <a:off x="905521" y="1897800"/>
          <a:ext cx="7084381" cy="46288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94826995"/>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93504-B4E9-2A53-F774-60838F5F4089}"/>
              </a:ext>
            </a:extLst>
          </p:cNvPr>
          <p:cNvSpPr>
            <a:spLocks noGrp="1"/>
          </p:cNvSpPr>
          <p:nvPr>
            <p:ph type="title"/>
          </p:nvPr>
        </p:nvSpPr>
        <p:spPr>
          <a:xfrm>
            <a:off x="822960" y="182880"/>
            <a:ext cx="7358907" cy="787032"/>
          </a:xfrm>
        </p:spPr>
        <p:txBody>
          <a:bodyPr anchor="ctr">
            <a:normAutofit/>
          </a:bodyPr>
          <a:lstStyle/>
          <a:p>
            <a:r>
              <a:rPr lang="de" sz="2000" b="0" i="0" strike="noStrike" cap="none" spc="0" baseline="0">
                <a:solidFill>
                  <a:srgbClr val="FFFFFF"/>
                </a:solidFill>
                <a:effectLst/>
                <a:latin typeface="Calibri Light"/>
                <a:ea typeface="Calibri Light"/>
                <a:cs typeface="Calibri Light"/>
              </a:rPr>
              <a:t>Vor Ort vs. außerhalb</a:t>
            </a:r>
          </a:p>
        </p:txBody>
      </p:sp>
      <p:sp>
        <p:nvSpPr>
          <p:cNvPr id="5" name="Slide Number Placeholder 4">
            <a:extLst>
              <a:ext uri="{FF2B5EF4-FFF2-40B4-BE49-F238E27FC236}">
                <a16:creationId xmlns:a16="http://schemas.microsoft.com/office/drawing/2014/main" id="{76041D41-19C3-C0F8-D7C8-57DBB24DE412}"/>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16</a:t>
            </a:fld>
            <a:endParaRPr lang="en-US"/>
          </a:p>
        </p:txBody>
      </p:sp>
      <p:graphicFrame>
        <p:nvGraphicFramePr>
          <p:cNvPr id="8" name="Content Placeholder 2">
            <a:extLst>
              <a:ext uri="{FF2B5EF4-FFF2-40B4-BE49-F238E27FC236}">
                <a16:creationId xmlns:a16="http://schemas.microsoft.com/office/drawing/2014/main" id="{A18E2935-DEEB-A2F1-2E13-5C287F219845}"/>
              </a:ext>
            </a:extLst>
          </p:cNvPr>
          <p:cNvGraphicFramePr>
            <a:graphicFrameLocks noGrp="1"/>
          </p:cNvGraphicFramePr>
          <p:nvPr>
            <p:ph idx="1"/>
            <p:extLst>
              <p:ext uri="{D42A27DB-BD31-4B8C-83A1-F6EECF244321}">
                <p14:modId xmlns:p14="http://schemas.microsoft.com/office/powerpoint/2010/main" val="3759020485"/>
              </p:ext>
            </p:extLst>
          </p:nvPr>
        </p:nvGraphicFramePr>
        <p:xfrm>
          <a:off x="1553473" y="2221778"/>
          <a:ext cx="5751576" cy="38088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extBox 8">
            <a:extLst>
              <a:ext uri="{FF2B5EF4-FFF2-40B4-BE49-F238E27FC236}">
                <a16:creationId xmlns:a16="http://schemas.microsoft.com/office/drawing/2014/main" id="{3617987A-B474-0F02-9399-C3497F7BC0B9}"/>
              </a:ext>
            </a:extLst>
          </p:cNvPr>
          <p:cNvSpPr txBox="1"/>
          <p:nvPr/>
        </p:nvSpPr>
        <p:spPr>
          <a:xfrm>
            <a:off x="1989670" y="1620274"/>
            <a:ext cx="4879181" cy="914400"/>
          </a:xfrm>
          <a:prstGeom prst="rect">
            <a:avLst/>
          </a:prstGeom>
          <a:noFill/>
        </p:spPr>
        <p:txBody>
          <a:bodyPr wrap="square" rtlCol="0">
            <a:spAutoFit/>
          </a:bodyPr>
          <a:lstStyle/>
          <a:p>
            <a:r>
              <a:rPr lang="de" sz="1800" b="1" i="0" strike="noStrike" cap="none" spc="0" baseline="0">
                <a:solidFill>
                  <a:srgbClr val="000000"/>
                </a:solidFill>
                <a:effectLst/>
                <a:latin typeface="Calibri"/>
                <a:ea typeface="Calibri"/>
                <a:cs typeface="Calibri"/>
              </a:rPr>
              <a:t>Gesetze und unsere Richtlinien gelten auch außerhalb des Standorts, einschließlich</a:t>
            </a:r>
          </a:p>
        </p:txBody>
      </p:sp>
      <p:sp>
        <p:nvSpPr>
          <p:cNvPr id="10" name="TextBox 9">
            <a:extLst>
              <a:ext uri="{FF2B5EF4-FFF2-40B4-BE49-F238E27FC236}">
                <a16:creationId xmlns:a16="http://schemas.microsoft.com/office/drawing/2014/main" id="{005B49E7-54D4-4F8F-19AA-C7F830247548}"/>
              </a:ext>
            </a:extLst>
          </p:cNvPr>
          <p:cNvSpPr txBox="1"/>
          <p:nvPr/>
        </p:nvSpPr>
        <p:spPr>
          <a:xfrm>
            <a:off x="551000" y="6125592"/>
            <a:ext cx="8042000" cy="640080"/>
          </a:xfrm>
          <a:prstGeom prst="rect">
            <a:avLst/>
          </a:prstGeom>
          <a:noFill/>
        </p:spPr>
        <p:txBody>
          <a:bodyPr wrap="square" rtlCol="0">
            <a:spAutoFit/>
          </a:bodyPr>
          <a:lstStyle/>
          <a:p>
            <a:r>
              <a:rPr lang="de" sz="1800" b="1" i="0" strike="noStrike" cap="none" spc="0" baseline="0">
                <a:solidFill>
                  <a:srgbClr val="000000"/>
                </a:solidFill>
                <a:effectLst/>
                <a:latin typeface="Calibri"/>
                <a:ea typeface="Calibri"/>
                <a:cs typeface="Calibri"/>
              </a:rPr>
              <a:t>Gesetze und unsere Richtlinien gelten für alle, unabhängig davon, wo sie arbeiten</a:t>
            </a:r>
          </a:p>
        </p:txBody>
      </p:sp>
    </p:spTree>
    <p:extLst>
      <p:ext uri="{BB962C8B-B14F-4D97-AF65-F5344CB8AC3E}">
        <p14:creationId xmlns:p14="http://schemas.microsoft.com/office/powerpoint/2010/main" val="298079491"/>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838BE-D35C-18F4-DD18-076F9D973F35}"/>
              </a:ext>
            </a:extLst>
          </p:cNvPr>
          <p:cNvSpPr>
            <a:spLocks noGrp="1"/>
          </p:cNvSpPr>
          <p:nvPr>
            <p:ph type="title"/>
          </p:nvPr>
        </p:nvSpPr>
        <p:spPr/>
        <p:txBody>
          <a:bodyPr/>
          <a:lstStyle/>
          <a:p>
            <a:r>
              <a:rPr lang="de" sz="2000" b="0" i="0" strike="noStrike" cap="none" spc="0" baseline="0">
                <a:solidFill>
                  <a:srgbClr val="FFFFFF"/>
                </a:solidFill>
                <a:effectLst/>
                <a:latin typeface="Calibri Light"/>
                <a:ea typeface="Calibri Light"/>
                <a:cs typeface="Calibri Light"/>
              </a:rPr>
              <a:t>Diskriminierung</a:t>
            </a:r>
          </a:p>
        </p:txBody>
      </p:sp>
      <p:sp>
        <p:nvSpPr>
          <p:cNvPr id="5" name="Slide Number Placeholder 4">
            <a:extLst>
              <a:ext uri="{FF2B5EF4-FFF2-40B4-BE49-F238E27FC236}">
                <a16:creationId xmlns:a16="http://schemas.microsoft.com/office/drawing/2014/main" id="{D4EE7B1D-3612-EFA3-F9DC-ECF372B09B51}"/>
              </a:ext>
            </a:extLst>
          </p:cNvPr>
          <p:cNvSpPr>
            <a:spLocks noGrp="1"/>
          </p:cNvSpPr>
          <p:nvPr>
            <p:ph type="sldNum" sz="quarter" idx="4"/>
          </p:nvPr>
        </p:nvSpPr>
        <p:spPr/>
        <p:txBody>
          <a:bodyPr/>
          <a:lstStyle/>
          <a:p>
            <a:fld id="{BB5FC4A1-A2DE-4EB5-9A46-57D39B4235EC}" type="slidenum">
              <a:rPr lang="en-US" smtClean="0"/>
              <a:t>17</a:t>
            </a:fld>
            <a:endParaRPr lang="en-US"/>
          </a:p>
        </p:txBody>
      </p:sp>
      <p:sp>
        <p:nvSpPr>
          <p:cNvPr id="3" name="TextBox 2">
            <a:extLst>
              <a:ext uri="{FF2B5EF4-FFF2-40B4-BE49-F238E27FC236}">
                <a16:creationId xmlns:a16="http://schemas.microsoft.com/office/drawing/2014/main" id="{1C66F432-C4F6-FCEE-F1EB-C13A0EC3264F}"/>
              </a:ext>
            </a:extLst>
          </p:cNvPr>
          <p:cNvSpPr txBox="1"/>
          <p:nvPr/>
        </p:nvSpPr>
        <p:spPr>
          <a:xfrm>
            <a:off x="639192" y="2024108"/>
            <a:ext cx="3357166" cy="5029198"/>
          </a:xfrm>
          <a:prstGeom prst="rect">
            <a:avLst/>
          </a:prstGeom>
          <a:noFill/>
        </p:spPr>
        <p:txBody>
          <a:bodyPr wrap="square" rtlCol="0">
            <a:spAutoFit/>
          </a:bodyPr>
          <a:lstStyle/>
          <a:p>
            <a:r>
              <a:rPr lang="de" sz="1800" b="0" i="0" strike="noStrike" cap="none" spc="0" baseline="0">
                <a:solidFill>
                  <a:srgbClr val="000000"/>
                </a:solidFill>
                <a:effectLst/>
                <a:latin typeface="Calibri"/>
                <a:ea typeface="Calibri"/>
                <a:cs typeface="Calibri"/>
              </a:rPr>
              <a:t>Diskriminierung kann sich auf wichtige Arbeitsentscheidungen auswirken, die sich darauf beziehen, wie Menschen:</a:t>
            </a:r>
          </a:p>
          <a:p>
            <a:endParaRPr lang="en-US"/>
          </a:p>
          <a:p>
            <a:pPr marL="285750" indent="-285750">
              <a:buFont typeface="Arial" panose="020B0604020202020204" pitchFamily="34" charset="0"/>
              <a:buChar char="•"/>
            </a:pPr>
            <a:r>
              <a:rPr lang="de" sz="1800" b="0" i="0" strike="noStrike" cap="none" spc="0" baseline="0">
                <a:solidFill>
                  <a:srgbClr val="000000"/>
                </a:solidFill>
                <a:effectLst/>
                <a:latin typeface="Calibri"/>
                <a:ea typeface="Calibri"/>
                <a:cs typeface="Calibri"/>
              </a:rPr>
              <a:t>Eingestellt</a:t>
            </a:r>
          </a:p>
          <a:p>
            <a:pPr marL="285750" indent="-285750">
              <a:buFont typeface="Arial" panose="020B0604020202020204" pitchFamily="34" charset="0"/>
              <a:buChar char="•"/>
            </a:pPr>
            <a:r>
              <a:rPr lang="de" sz="1800" b="0" i="0" strike="noStrike" cap="none" spc="0" baseline="0">
                <a:solidFill>
                  <a:srgbClr val="000000"/>
                </a:solidFill>
                <a:effectLst/>
                <a:latin typeface="Calibri"/>
                <a:ea typeface="Calibri"/>
                <a:cs typeface="Calibri"/>
              </a:rPr>
              <a:t>Gefeuert</a:t>
            </a:r>
          </a:p>
          <a:p>
            <a:pPr marL="285750" indent="-285750">
              <a:buFont typeface="Arial" panose="020B0604020202020204" pitchFamily="34" charset="0"/>
              <a:buChar char="•"/>
            </a:pPr>
            <a:r>
              <a:rPr lang="de" sz="1800" b="0" i="0" strike="noStrike" cap="none" spc="0" baseline="0">
                <a:solidFill>
                  <a:srgbClr val="000000"/>
                </a:solidFill>
                <a:effectLst/>
                <a:latin typeface="Calibri"/>
                <a:ea typeface="Calibri"/>
                <a:cs typeface="Calibri"/>
              </a:rPr>
              <a:t>Bezahlt</a:t>
            </a:r>
          </a:p>
          <a:p>
            <a:pPr marL="285750" indent="-285750">
              <a:buFont typeface="Arial" panose="020B0604020202020204" pitchFamily="34" charset="0"/>
              <a:buChar char="•"/>
            </a:pPr>
            <a:r>
              <a:rPr lang="de" sz="1800" b="0" i="0" strike="noStrike" cap="none" spc="0" baseline="0">
                <a:solidFill>
                  <a:srgbClr val="000000"/>
                </a:solidFill>
                <a:effectLst/>
                <a:latin typeface="Calibri"/>
                <a:ea typeface="Calibri"/>
                <a:cs typeface="Calibri"/>
              </a:rPr>
              <a:t>Beworben</a:t>
            </a:r>
          </a:p>
          <a:p>
            <a:pPr marL="285750" indent="-285750">
              <a:buFont typeface="Arial" panose="020B0604020202020204" pitchFamily="34" charset="0"/>
              <a:buChar char="•"/>
            </a:pPr>
            <a:r>
              <a:rPr lang="de" sz="1800" b="0" i="0" strike="noStrike" cap="none" spc="0" baseline="0">
                <a:solidFill>
                  <a:srgbClr val="000000"/>
                </a:solidFill>
                <a:effectLst/>
                <a:latin typeface="Calibri"/>
                <a:ea typeface="Calibri"/>
                <a:cs typeface="Calibri"/>
              </a:rPr>
              <a:t>Abgelehnt</a:t>
            </a:r>
          </a:p>
          <a:p>
            <a:endParaRPr lang="en-US"/>
          </a:p>
          <a:p>
            <a:r>
              <a:rPr lang="de" sz="1800" b="0" i="0" strike="noStrike" cap="none" spc="0" baseline="0">
                <a:solidFill>
                  <a:srgbClr val="000000"/>
                </a:solidFill>
                <a:effectLst/>
                <a:latin typeface="Calibri"/>
                <a:ea typeface="Calibri"/>
                <a:cs typeface="Calibri"/>
              </a:rPr>
              <a:t>Gesetze verbieten Entscheidungen, die auf geschützten Gründen basieren.</a:t>
            </a:r>
          </a:p>
          <a:p>
            <a:endParaRPr lang="en-US"/>
          </a:p>
          <a:p>
            <a:endParaRPr lang="en-US"/>
          </a:p>
        </p:txBody>
      </p:sp>
      <p:pic>
        <p:nvPicPr>
          <p:cNvPr id="9" name="Content Placeholder 8" descr="A person and person shaking hands&#10;&#10;Description automatically generated">
            <a:extLst>
              <a:ext uri="{FF2B5EF4-FFF2-40B4-BE49-F238E27FC236}">
                <a16:creationId xmlns:a16="http://schemas.microsoft.com/office/drawing/2014/main" id="{9C1D1F2A-121C-6765-A5A7-1F5882EF555D}"/>
              </a:ext>
            </a:extLst>
          </p:cNvPr>
          <p:cNvPicPr>
            <a:picLocks noGrp="1" noChangeAspect="1"/>
          </p:cNvPicPr>
          <p:nvPr>
            <p:ph idx="1"/>
          </p:nvPr>
        </p:nvPicPr>
        <p:blipFill>
          <a:blip r:embed="rId2"/>
          <a:stretch>
            <a:fillRect/>
          </a:stretch>
        </p:blipFill>
        <p:spPr>
          <a:xfrm>
            <a:off x="4572000" y="2152325"/>
            <a:ext cx="4140200" cy="3105150"/>
          </a:xfrm>
        </p:spPr>
      </p:pic>
    </p:spTree>
    <p:extLst>
      <p:ext uri="{BB962C8B-B14F-4D97-AF65-F5344CB8AC3E}">
        <p14:creationId xmlns:p14="http://schemas.microsoft.com/office/powerpoint/2010/main" val="981669481"/>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74E336-4484-55C6-395A-D378598BF4F8}"/>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de" sz="2000" b="0" i="0" strike="noStrike" cap="none" spc="0" baseline="0">
                <a:solidFill>
                  <a:srgbClr val="FFFFFF"/>
                </a:solidFill>
                <a:effectLst/>
                <a:latin typeface="Calibri Light"/>
                <a:ea typeface="Calibri Light"/>
                <a:cs typeface="Calibri Light"/>
              </a:rPr>
              <a:t>Mobbing am Arbeitsplatz</a:t>
            </a:r>
          </a:p>
        </p:txBody>
      </p:sp>
      <p:sp>
        <p:nvSpPr>
          <p:cNvPr id="9" name="TextBox 8">
            <a:extLst>
              <a:ext uri="{FF2B5EF4-FFF2-40B4-BE49-F238E27FC236}">
                <a16:creationId xmlns:a16="http://schemas.microsoft.com/office/drawing/2014/main" id="{87FEABC1-0E2B-CA86-F809-3DA3A9B36182}"/>
              </a:ext>
            </a:extLst>
          </p:cNvPr>
          <p:cNvSpPr txBox="1"/>
          <p:nvPr/>
        </p:nvSpPr>
        <p:spPr>
          <a:xfrm>
            <a:off x="628650" y="1508760"/>
            <a:ext cx="3886200" cy="5135424"/>
          </a:xfrm>
          <a:prstGeom prst="rect">
            <a:avLst/>
          </a:prstGeom>
        </p:spPr>
        <p:txBody>
          <a:bodyPr vert="horz" lIns="91440" tIns="45720" rIns="91440" bIns="45720" rtlCol="0">
            <a:normAutofit/>
          </a:bodyPr>
          <a:lstStyle/>
          <a:p>
            <a:pPr defTabSz="685749">
              <a:lnSpc>
                <a:spcPct val="90000"/>
              </a:lnSpc>
              <a:spcBef>
                <a:spcPts val="750"/>
              </a:spcBef>
            </a:pPr>
            <a:r>
              <a:rPr lang="de" sz="2100" b="0" i="0" strike="noStrike" cap="none" spc="0" baseline="0">
                <a:solidFill>
                  <a:srgbClr val="000000"/>
                </a:solidFill>
                <a:effectLst/>
                <a:latin typeface="Calibri"/>
                <a:ea typeface="Calibri"/>
                <a:cs typeface="Calibri"/>
              </a:rPr>
              <a:t>Die RPM-Richtlinie verbietet missbräuchliches Verhalten, wie z. B.:</a:t>
            </a:r>
          </a:p>
          <a:p>
            <a:pPr defTabSz="685749">
              <a:lnSpc>
                <a:spcPct val="90000"/>
              </a:lnSpc>
              <a:spcBef>
                <a:spcPts val="750"/>
              </a:spcBef>
            </a:pPr>
            <a:endParaRPr lang="en-US" sz="2100"/>
          </a:p>
          <a:p>
            <a:pPr marL="171438" indent="-171438" defTabSz="685749">
              <a:lnSpc>
                <a:spcPct val="90000"/>
              </a:lnSpc>
              <a:spcBef>
                <a:spcPts val="750"/>
              </a:spcBef>
              <a:buFont typeface="Arial" panose="020B0604020202020204" pitchFamily="34" charset="0"/>
              <a:buChar char="•"/>
            </a:pPr>
            <a:r>
              <a:rPr lang="de" sz="2100" b="0" i="0" strike="noStrike" cap="none" spc="0" baseline="0">
                <a:solidFill>
                  <a:srgbClr val="000000"/>
                </a:solidFill>
                <a:effectLst/>
                <a:latin typeface="Calibri"/>
                <a:ea typeface="Calibri"/>
                <a:cs typeface="Calibri"/>
              </a:rPr>
              <a:t>Mobbing am Arbeitsplatz</a:t>
            </a:r>
          </a:p>
          <a:p>
            <a:pPr marL="171438" indent="-171438" defTabSz="685749">
              <a:lnSpc>
                <a:spcPct val="90000"/>
              </a:lnSpc>
              <a:spcBef>
                <a:spcPts val="750"/>
              </a:spcBef>
              <a:buFont typeface="Arial" panose="020B0604020202020204" pitchFamily="34" charset="0"/>
              <a:buChar char="•"/>
            </a:pPr>
            <a:r>
              <a:rPr lang="de" sz="2100" b="0" i="0" strike="noStrike" cap="none" spc="0" baseline="0">
                <a:solidFill>
                  <a:srgbClr val="000000"/>
                </a:solidFill>
                <a:effectLst/>
                <a:latin typeface="Calibri"/>
                <a:ea typeface="Calibri"/>
                <a:cs typeface="Calibri"/>
              </a:rPr>
              <a:t>Moralische Belästigung</a:t>
            </a:r>
          </a:p>
          <a:p>
            <a:pPr marL="171438" indent="-171438" defTabSz="685749">
              <a:lnSpc>
                <a:spcPct val="90000"/>
              </a:lnSpc>
              <a:spcBef>
                <a:spcPts val="750"/>
              </a:spcBef>
              <a:buFont typeface="Arial" panose="020B0604020202020204" pitchFamily="34" charset="0"/>
              <a:buChar char="•"/>
            </a:pPr>
            <a:r>
              <a:rPr lang="de" sz="2100" b="0" i="0" strike="noStrike" cap="none" spc="0" baseline="0">
                <a:solidFill>
                  <a:srgbClr val="000000"/>
                </a:solidFill>
                <a:effectLst/>
                <a:latin typeface="Calibri"/>
                <a:ea typeface="Calibri"/>
                <a:cs typeface="Calibri"/>
              </a:rPr>
              <a:t>Psychologische Belästigung</a:t>
            </a:r>
          </a:p>
          <a:p>
            <a:pPr marL="171438" indent="-171438" defTabSz="685749">
              <a:lnSpc>
                <a:spcPct val="90000"/>
              </a:lnSpc>
              <a:spcBef>
                <a:spcPts val="750"/>
              </a:spcBef>
              <a:buFont typeface="Arial" panose="020B0604020202020204" pitchFamily="34" charset="0"/>
              <a:buChar char="•"/>
            </a:pPr>
            <a:r>
              <a:rPr lang="de" sz="2100" b="0" i="0" strike="noStrike" cap="none" spc="0" baseline="0">
                <a:solidFill>
                  <a:srgbClr val="000000"/>
                </a:solidFill>
                <a:effectLst/>
                <a:latin typeface="Calibri"/>
                <a:ea typeface="Calibri"/>
                <a:cs typeface="Calibri"/>
              </a:rPr>
              <a:t>Opferung</a:t>
            </a:r>
            <a:endParaRPr lang="en-US" sz="2100"/>
          </a:p>
          <a:p>
            <a:pPr marL="171438" indent="-171438" defTabSz="685749">
              <a:lnSpc>
                <a:spcPct val="90000"/>
              </a:lnSpc>
              <a:spcBef>
                <a:spcPts val="750"/>
              </a:spcBef>
              <a:buFont typeface="Arial" panose="020B0604020202020204" pitchFamily="34" charset="0"/>
              <a:buChar char="•"/>
            </a:pPr>
            <a:endParaRPr lang="en-US" sz="2100"/>
          </a:p>
          <a:p>
            <a:pPr defTabSz="685749">
              <a:lnSpc>
                <a:spcPct val="90000"/>
              </a:lnSpc>
              <a:spcBef>
                <a:spcPts val="750"/>
              </a:spcBef>
            </a:pPr>
            <a:r>
              <a:rPr lang="de" sz="2100" b="0" i="0" strike="noStrike" cap="none" spc="0" baseline="0">
                <a:solidFill>
                  <a:srgbClr val="000000"/>
                </a:solidFill>
                <a:effectLst/>
                <a:latin typeface="Calibri"/>
                <a:ea typeface="Calibri"/>
                <a:cs typeface="Calibri"/>
              </a:rPr>
              <a:t>Missbräuchliches Verhalten wird nicht toleriert und kann zu Disziplinarmaßnahmen und sogar zur Entlassung führen. </a:t>
            </a:r>
          </a:p>
        </p:txBody>
      </p:sp>
      <p:pic>
        <p:nvPicPr>
          <p:cNvPr id="13" name="Content Placeholder 12">
            <a:extLst>
              <a:ext uri="{FF2B5EF4-FFF2-40B4-BE49-F238E27FC236}">
                <a16:creationId xmlns:a16="http://schemas.microsoft.com/office/drawing/2014/main" id="{670D2939-C375-9080-79F4-79D7BEEB615C}"/>
              </a:ext>
            </a:extLst>
          </p:cNvPr>
          <p:cNvPicPr>
            <a:picLocks noGrp="1" noChangeAspect="1"/>
          </p:cNvPicPr>
          <p:nvPr>
            <p:ph sz="half" idx="2"/>
          </p:nvPr>
        </p:nvPicPr>
        <p:blipFill>
          <a:blip r:embed="rId2"/>
          <a:stretch>
            <a:fillRect/>
          </a:stretch>
        </p:blipFill>
        <p:spPr>
          <a:xfrm>
            <a:off x="4670412" y="1508125"/>
            <a:ext cx="3803676" cy="5135563"/>
          </a:xfrm>
        </p:spPr>
      </p:pic>
      <p:sp>
        <p:nvSpPr>
          <p:cNvPr id="5" name="Slide Number Placeholder 4" hidden="1">
            <a:extLst>
              <a:ext uri="{FF2B5EF4-FFF2-40B4-BE49-F238E27FC236}">
                <a16:creationId xmlns:a16="http://schemas.microsoft.com/office/drawing/2014/main" id="{1CE12886-C52E-1C5C-F8AC-E1C4DF713451}"/>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18</a:t>
            </a:fld>
            <a:endParaRPr lang="en-US"/>
          </a:p>
        </p:txBody>
      </p:sp>
    </p:spTree>
    <p:extLst>
      <p:ext uri="{BB962C8B-B14F-4D97-AF65-F5344CB8AC3E}">
        <p14:creationId xmlns:p14="http://schemas.microsoft.com/office/powerpoint/2010/main" val="1411236543"/>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4E63CD8-53B4-AF1A-FBA4-05945FE997A1}"/>
              </a:ext>
            </a:extLst>
          </p:cNvPr>
          <p:cNvSpPr txBox="1"/>
          <p:nvPr/>
        </p:nvSpPr>
        <p:spPr>
          <a:xfrm>
            <a:off x="431800" y="1508125"/>
            <a:ext cx="4071938" cy="4841875"/>
          </a:xfrm>
          <a:prstGeom prst="rect">
            <a:avLst/>
          </a:prstGeom>
        </p:spPr>
        <p:txBody>
          <a:bodyPr vert="horz" wrap="square" lIns="91440" tIns="45720" rIns="91440" bIns="45720" rtlCol="0" anchor="t">
            <a:normAutofit lnSpcReduction="10000"/>
          </a:bodyPr>
          <a:lstStyle/>
          <a:p>
            <a:pPr defTabSz="685749">
              <a:lnSpc>
                <a:spcPct val="90000"/>
              </a:lnSpc>
              <a:spcAft>
                <a:spcPts val="600"/>
              </a:spcAft>
            </a:pPr>
            <a:r>
              <a:rPr lang="de" sz="2600" b="1" i="0" strike="noStrike" cap="none" spc="0" baseline="0">
                <a:solidFill>
                  <a:srgbClr val="000000"/>
                </a:solidFill>
                <a:effectLst/>
                <a:latin typeface="Calibri"/>
                <a:ea typeface="Calibri"/>
                <a:cs typeface="Calibri"/>
              </a:rPr>
              <a:t>Szenario:</a:t>
            </a:r>
          </a:p>
          <a:p>
            <a:pPr indent="-171438" defTabSz="685749">
              <a:lnSpc>
                <a:spcPct val="90000"/>
              </a:lnSpc>
              <a:spcAft>
                <a:spcPts val="600"/>
              </a:spcAft>
              <a:buFont typeface="Arial" panose="020B0604020202020204" pitchFamily="34" charset="0"/>
              <a:buChar char="•"/>
            </a:pPr>
            <a:endParaRPr lang="en-US" sz="2600"/>
          </a:p>
          <a:p>
            <a:pPr defTabSz="685749">
              <a:lnSpc>
                <a:spcPct val="90000"/>
              </a:lnSpc>
              <a:spcAft>
                <a:spcPts val="600"/>
              </a:spcAft>
            </a:pPr>
            <a:r>
              <a:rPr lang="de" sz="2600" b="0" i="0" strike="noStrike" cap="none" spc="0" baseline="0">
                <a:solidFill>
                  <a:srgbClr val="000000"/>
                </a:solidFill>
                <a:effectLst/>
                <a:latin typeface="Calibri"/>
                <a:ea typeface="Calibri"/>
                <a:cs typeface="Calibri"/>
              </a:rPr>
              <a:t>Jemand bei Ihrer Arbeit macht einen farbigen Witz und verteidigt ihn, indem er sagt, er habe ihn bei einem kürzlichen Fußballspiel gehört. </a:t>
            </a:r>
          </a:p>
          <a:p>
            <a:pPr indent="-171438" defTabSz="685749">
              <a:lnSpc>
                <a:spcPct val="90000"/>
              </a:lnSpc>
              <a:spcAft>
                <a:spcPts val="600"/>
              </a:spcAft>
              <a:buFont typeface="Arial" panose="020B0604020202020204" pitchFamily="34" charset="0"/>
              <a:buChar char="•"/>
            </a:pPr>
            <a:endParaRPr lang="en-US" sz="2600"/>
          </a:p>
          <a:p>
            <a:pPr defTabSz="685749">
              <a:lnSpc>
                <a:spcPct val="90000"/>
              </a:lnSpc>
              <a:spcAft>
                <a:spcPts val="600"/>
              </a:spcAft>
            </a:pPr>
            <a:r>
              <a:rPr lang="de" sz="2600" b="0" i="1" strike="noStrike" cap="none" spc="0" baseline="0">
                <a:solidFill>
                  <a:srgbClr val="000000"/>
                </a:solidFill>
                <a:effectLst/>
                <a:latin typeface="Calibri"/>
                <a:ea typeface="Calibri"/>
                <a:cs typeface="Calibri"/>
              </a:rPr>
              <a:t>Sind Sie der Meinung, dass es angemessen ist, Witze dieser Art am Arbeitsplatz zu wiederholen?</a:t>
            </a:r>
          </a:p>
        </p:txBody>
      </p:sp>
      <p:sp>
        <p:nvSpPr>
          <p:cNvPr id="9" name="TextBox 8">
            <a:extLst>
              <a:ext uri="{FF2B5EF4-FFF2-40B4-BE49-F238E27FC236}">
                <a16:creationId xmlns:a16="http://schemas.microsoft.com/office/drawing/2014/main" id="{F525208C-D97C-1080-772A-E506B67C4128}"/>
              </a:ext>
            </a:extLst>
          </p:cNvPr>
          <p:cNvSpPr txBox="1"/>
          <p:nvPr/>
        </p:nvSpPr>
        <p:spPr>
          <a:xfrm>
            <a:off x="4880191" y="1508124"/>
            <a:ext cx="3927475" cy="4841875"/>
          </a:xfrm>
          <a:prstGeom prst="rect">
            <a:avLst/>
          </a:prstGeom>
          <a:noFill/>
        </p:spPr>
        <p:txBody>
          <a:bodyPr wrap="square" rtlCol="0" anchor="t">
            <a:normAutofit/>
          </a:bodyPr>
          <a:lstStyle/>
          <a:p>
            <a:pPr>
              <a:spcAft>
                <a:spcPts val="600"/>
              </a:spcAft>
            </a:pPr>
            <a:r>
              <a:rPr lang="de" sz="2600" b="1" i="0" strike="noStrike" cap="none" spc="0" baseline="0">
                <a:solidFill>
                  <a:srgbClr val="000000"/>
                </a:solidFill>
                <a:effectLst/>
                <a:latin typeface="Calibri"/>
                <a:ea typeface="Calibri"/>
                <a:cs typeface="Calibri"/>
              </a:rPr>
              <a:t>Antwort:</a:t>
            </a:r>
          </a:p>
          <a:p>
            <a:pPr>
              <a:spcAft>
                <a:spcPts val="600"/>
              </a:spcAft>
            </a:pPr>
            <a:endParaRPr lang="en-GB" sz="2600"/>
          </a:p>
          <a:p>
            <a:pPr>
              <a:spcAft>
                <a:spcPts val="600"/>
              </a:spcAft>
            </a:pPr>
            <a:r>
              <a:rPr lang="de" sz="2600" b="0" i="0" strike="noStrike" cap="none" spc="0" baseline="0">
                <a:solidFill>
                  <a:srgbClr val="000000"/>
                </a:solidFill>
                <a:effectLst/>
                <a:latin typeface="Calibri"/>
                <a:ea typeface="Calibri"/>
                <a:cs typeface="Calibri"/>
              </a:rPr>
              <a:t>Anstößiges Verhalten ist in einer Arbeitsumgebung niemals in Ordnung, auch wenn einige es in anderen Umgebungen oder für andere Zielgruppen als akzeptabel erachten. </a:t>
            </a:r>
          </a:p>
        </p:txBody>
      </p:sp>
      <p:sp>
        <p:nvSpPr>
          <p:cNvPr id="2" name="Title 1">
            <a:extLst>
              <a:ext uri="{FF2B5EF4-FFF2-40B4-BE49-F238E27FC236}">
                <a16:creationId xmlns:a16="http://schemas.microsoft.com/office/drawing/2014/main" id="{EA4F93A6-6B68-6A51-4F34-80231D8C0B15}"/>
              </a:ext>
            </a:extLst>
          </p:cNvPr>
          <p:cNvSpPr>
            <a:spLocks noGrp="1"/>
          </p:cNvSpPr>
          <p:nvPr>
            <p:ph type="title"/>
          </p:nvPr>
        </p:nvSpPr>
        <p:spPr>
          <a:xfrm>
            <a:off x="822960" y="182880"/>
            <a:ext cx="7358907" cy="787032"/>
          </a:xfrm>
        </p:spPr>
        <p:txBody>
          <a:bodyPr vert="horz" lIns="91440" tIns="45720" rIns="91440" bIns="45720" rtlCol="0" anchor="ctr">
            <a:normAutofit/>
          </a:bodyPr>
          <a:lstStyle/>
          <a:p>
            <a:r>
              <a:rPr lang="de" sz="2000" b="0" i="0" strike="noStrike" cap="none" spc="0" baseline="0">
                <a:solidFill>
                  <a:srgbClr val="FFFFFF"/>
                </a:solidFill>
                <a:effectLst/>
                <a:latin typeface="Calibri Light"/>
                <a:ea typeface="Calibri Light"/>
                <a:cs typeface="Calibri Light"/>
              </a:rPr>
              <a:t>Persönlich vs. Arbeit</a:t>
            </a:r>
          </a:p>
        </p:txBody>
      </p:sp>
      <p:sp>
        <p:nvSpPr>
          <p:cNvPr id="5" name="Slide Number Placeholder 4">
            <a:extLst>
              <a:ext uri="{FF2B5EF4-FFF2-40B4-BE49-F238E27FC236}">
                <a16:creationId xmlns:a16="http://schemas.microsoft.com/office/drawing/2014/main" id="{81BF4237-341B-E413-CBB8-087B15F184A1}"/>
              </a:ext>
            </a:extLst>
          </p:cNvPr>
          <p:cNvSpPr>
            <a:spLocks noGrp="1"/>
          </p:cNvSpPr>
          <p:nvPr>
            <p:ph type="sldNum" sz="quarter" idx="4"/>
          </p:nvPr>
        </p:nvSpPr>
        <p:spPr>
          <a:xfrm>
            <a:off x="8663437" y="6558353"/>
            <a:ext cx="480561" cy="365125"/>
          </a:xfrm>
        </p:spPr>
        <p:txBody>
          <a:bodyPr vert="horz" lIns="91440" tIns="45720" rIns="91440" bIns="45720" rtlCol="0" anchor="ctr">
            <a:normAutofit/>
          </a:bodyPr>
          <a:lstStyle/>
          <a:p>
            <a:pPr>
              <a:spcAft>
                <a:spcPts val="600"/>
              </a:spcAft>
            </a:pPr>
            <a:fld id="{BB5FC4A1-A2DE-4EB5-9A46-57D39B4235EC}" type="slidenum">
              <a:rPr lang="en-US" smtClean="0"/>
              <a:pPr>
                <a:spcAft>
                  <a:spcPts val="600"/>
                </a:spcAft>
              </a:pPr>
              <a:t>19</a:t>
            </a:fld>
            <a:endParaRPr lang="en-US"/>
          </a:p>
        </p:txBody>
      </p:sp>
    </p:spTree>
    <p:extLst>
      <p:ext uri="{BB962C8B-B14F-4D97-AF65-F5344CB8AC3E}">
        <p14:creationId xmlns:p14="http://schemas.microsoft.com/office/powerpoint/2010/main" val="428201450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50D3AE-8EA9-876D-8F7D-D72B8762676A}"/>
              </a:ext>
            </a:extLst>
          </p:cNvPr>
          <p:cNvSpPr>
            <a:spLocks noGrp="1"/>
          </p:cNvSpPr>
          <p:nvPr>
            <p:ph type="title"/>
          </p:nvPr>
        </p:nvSpPr>
        <p:spPr/>
        <p:txBody>
          <a:bodyPr/>
          <a:lstStyle/>
          <a:p>
            <a:r>
              <a:rPr lang="de" sz="2000" b="0" i="0" strike="noStrike" cap="none" spc="0" baseline="0">
                <a:solidFill>
                  <a:srgbClr val="FFFFFF"/>
                </a:solidFill>
                <a:effectLst/>
                <a:latin typeface="Calibri Light"/>
                <a:ea typeface="Calibri Light"/>
                <a:cs typeface="Calibri Light"/>
              </a:rPr>
              <a:t>Diskriminierung und Belästigung verhindern </a:t>
            </a:r>
          </a:p>
        </p:txBody>
      </p:sp>
      <p:sp>
        <p:nvSpPr>
          <p:cNvPr id="5" name="Slide Number Placeholder 4">
            <a:extLst>
              <a:ext uri="{FF2B5EF4-FFF2-40B4-BE49-F238E27FC236}">
                <a16:creationId xmlns:a16="http://schemas.microsoft.com/office/drawing/2014/main" id="{FF27906F-DB2C-FA2B-83AB-BA4E1ACCE555}"/>
              </a:ext>
            </a:extLst>
          </p:cNvPr>
          <p:cNvSpPr>
            <a:spLocks noGrp="1"/>
          </p:cNvSpPr>
          <p:nvPr>
            <p:ph type="sldNum" sz="quarter" idx="4"/>
          </p:nvPr>
        </p:nvSpPr>
        <p:spPr/>
        <p:txBody>
          <a:bodyPr/>
          <a:lstStyle/>
          <a:p>
            <a:fld id="{BB5FC4A1-A2DE-4EB5-9A46-57D39B4235EC}" type="slidenum">
              <a:rPr lang="en-US" smtClean="0"/>
              <a:t>2</a:t>
            </a:fld>
            <a:endParaRPr lang="en-US"/>
          </a:p>
        </p:txBody>
      </p:sp>
      <p:sp>
        <p:nvSpPr>
          <p:cNvPr id="8" name="TextBox 7">
            <a:extLst>
              <a:ext uri="{FF2B5EF4-FFF2-40B4-BE49-F238E27FC236}">
                <a16:creationId xmlns:a16="http://schemas.microsoft.com/office/drawing/2014/main" id="{87671493-6848-DBAF-4C09-CA1EE485840B}"/>
              </a:ext>
            </a:extLst>
          </p:cNvPr>
          <p:cNvSpPr txBox="1"/>
          <p:nvPr/>
        </p:nvSpPr>
        <p:spPr>
          <a:xfrm>
            <a:off x="299213" y="2026062"/>
            <a:ext cx="8604504" cy="5029198"/>
          </a:xfrm>
          <a:prstGeom prst="rect">
            <a:avLst/>
          </a:prstGeom>
          <a:noFill/>
        </p:spPr>
        <p:txBody>
          <a:bodyPr wrap="square" rtlCol="0">
            <a:spAutoFit/>
          </a:bodyPr>
          <a:lstStyle/>
          <a:p>
            <a:pPr algn="ctr"/>
            <a:r>
              <a:rPr lang="de" sz="1800" b="1" i="0" strike="noStrike" cap="none" spc="0" baseline="0">
                <a:solidFill>
                  <a:srgbClr val="000000"/>
                </a:solidFill>
                <a:effectLst/>
                <a:latin typeface="Calibri"/>
                <a:ea typeface="Calibri"/>
                <a:cs typeface="Calibri"/>
              </a:rPr>
              <a:t>Inhalt des Kurses</a:t>
            </a:r>
          </a:p>
          <a:p>
            <a:endParaRPr lang="en-GB"/>
          </a:p>
          <a:p>
            <a:pPr marL="342900" indent="-342900">
              <a:buFont typeface="+mj-lt"/>
              <a:buAutoNum type="arabicPeriod"/>
            </a:pPr>
            <a:r>
              <a:rPr lang="de" sz="1800" b="0" i="0" strike="noStrike" cap="none" spc="0" baseline="0">
                <a:solidFill>
                  <a:srgbClr val="000000"/>
                </a:solidFill>
                <a:effectLst/>
                <a:latin typeface="Calibri"/>
                <a:ea typeface="Calibri"/>
                <a:cs typeface="Calibri"/>
              </a:rPr>
              <a:t>Was ist Belästigung und Diskriminierung?</a:t>
            </a:r>
          </a:p>
          <a:p>
            <a:pPr marL="342900" indent="-342900">
              <a:buFont typeface="+mj-lt"/>
              <a:buAutoNum type="arabicPeriod"/>
            </a:pPr>
            <a:r>
              <a:rPr lang="de" sz="1800" b="0" i="0" strike="noStrike" cap="none" spc="0" baseline="0">
                <a:solidFill>
                  <a:srgbClr val="000000"/>
                </a:solidFill>
                <a:effectLst/>
                <a:latin typeface="Calibri"/>
                <a:ea typeface="Calibri"/>
                <a:cs typeface="Calibri"/>
              </a:rPr>
              <a:t>Geschützte Grundlagen verstehen </a:t>
            </a:r>
          </a:p>
          <a:p>
            <a:pPr marL="342900" indent="-342900">
              <a:buFont typeface="+mj-lt"/>
              <a:buAutoNum type="arabicPeriod"/>
            </a:pPr>
            <a:r>
              <a:rPr lang="de" sz="1800" b="0" i="0" strike="noStrike" cap="none" spc="0" baseline="0">
                <a:solidFill>
                  <a:srgbClr val="000000"/>
                </a:solidFill>
                <a:effectLst/>
                <a:latin typeface="Calibri"/>
                <a:ea typeface="Calibri"/>
                <a:cs typeface="Calibri"/>
              </a:rPr>
              <a:t>Sexuelle Belästigung</a:t>
            </a:r>
          </a:p>
          <a:p>
            <a:pPr marL="342900" indent="-342900">
              <a:buFont typeface="+mj-lt"/>
              <a:buAutoNum type="arabicPeriod"/>
            </a:pPr>
            <a:r>
              <a:rPr lang="de" sz="1800" b="0" i="0" strike="noStrike" cap="none" spc="0" baseline="0">
                <a:solidFill>
                  <a:srgbClr val="000000"/>
                </a:solidFill>
                <a:effectLst/>
                <a:latin typeface="Calibri"/>
                <a:ea typeface="Calibri"/>
                <a:cs typeface="Calibri"/>
              </a:rPr>
              <a:t>Quid Pro Quo / Feindseliges Arbeitsumfeld </a:t>
            </a:r>
          </a:p>
          <a:p>
            <a:pPr marL="342900" indent="-342900">
              <a:buFont typeface="+mj-lt"/>
              <a:buAutoNum type="arabicPeriod"/>
            </a:pPr>
            <a:r>
              <a:rPr lang="de" sz="1800" b="0" i="0" strike="noStrike" cap="none" spc="0" baseline="0">
                <a:solidFill>
                  <a:srgbClr val="000000"/>
                </a:solidFill>
                <a:effectLst/>
                <a:latin typeface="Calibri"/>
                <a:ea typeface="Calibri"/>
                <a:cs typeface="Calibri"/>
              </a:rPr>
              <a:t>Diskriminierung</a:t>
            </a:r>
          </a:p>
          <a:p>
            <a:pPr marL="342900" indent="-342900">
              <a:buFont typeface="+mj-lt"/>
              <a:buAutoNum type="arabicPeriod"/>
            </a:pPr>
            <a:r>
              <a:rPr lang="de" sz="1800" b="0" i="0" strike="noStrike" cap="none" spc="0" baseline="0">
                <a:solidFill>
                  <a:srgbClr val="000000"/>
                </a:solidFill>
                <a:effectLst/>
                <a:latin typeface="Calibri"/>
                <a:ea typeface="Calibri"/>
                <a:cs typeface="Calibri"/>
              </a:rPr>
              <a:t>Unangemessenes Verhalten</a:t>
            </a:r>
          </a:p>
          <a:p>
            <a:pPr marL="342900" indent="-342900">
              <a:buFont typeface="+mj-lt"/>
              <a:buAutoNum type="arabicPeriod"/>
            </a:pPr>
            <a:r>
              <a:rPr lang="de" sz="1800" b="0" i="0" strike="noStrike" cap="none" spc="0" baseline="0">
                <a:solidFill>
                  <a:srgbClr val="000000"/>
                </a:solidFill>
                <a:effectLst/>
                <a:latin typeface="Calibri"/>
                <a:ea typeface="Calibri"/>
                <a:cs typeface="Calibri"/>
              </a:rPr>
              <a:t>Mobbing am Arbeitsplatz</a:t>
            </a:r>
          </a:p>
          <a:p>
            <a:pPr marL="342900" indent="-342900">
              <a:buFont typeface="+mj-lt"/>
              <a:buAutoNum type="arabicPeriod"/>
            </a:pPr>
            <a:r>
              <a:rPr lang="de" sz="1800" b="0" i="0" strike="noStrike" cap="none" spc="0" baseline="0">
                <a:solidFill>
                  <a:srgbClr val="000000"/>
                </a:solidFill>
                <a:effectLst/>
                <a:latin typeface="Calibri"/>
                <a:ea typeface="Calibri"/>
                <a:cs typeface="Calibri"/>
              </a:rPr>
              <a:t>Unerwünschte Verhaltensweisen erkennen</a:t>
            </a:r>
          </a:p>
          <a:p>
            <a:pPr marL="342900" indent="-342900">
              <a:buFont typeface="+mj-lt"/>
              <a:buAutoNum type="arabicPeriod"/>
            </a:pPr>
            <a:r>
              <a:rPr lang="de" sz="1800" b="0" i="0" strike="noStrike" cap="none" spc="0" baseline="0">
                <a:solidFill>
                  <a:srgbClr val="000000"/>
                </a:solidFill>
                <a:effectLst/>
                <a:latin typeface="Calibri"/>
                <a:ea typeface="Calibri"/>
                <a:cs typeface="Calibri"/>
              </a:rPr>
              <a:t>Vorbringen von Bedenken und Vergeltungsmaßnahmen</a:t>
            </a:r>
          </a:p>
          <a:p>
            <a:pPr marL="342900" indent="-342900">
              <a:buFont typeface="+mj-lt"/>
              <a:buAutoNum type="arabicPeriod"/>
            </a:pPr>
            <a:endParaRPr lang="en-GB"/>
          </a:p>
          <a:p>
            <a:r>
              <a:rPr lang="de" sz="1800" b="1" i="0" strike="noStrike" cap="none" spc="0" baseline="0">
                <a:solidFill>
                  <a:srgbClr val="000000"/>
                </a:solidFill>
                <a:effectLst/>
                <a:latin typeface="Calibri"/>
                <a:ea typeface="Calibri"/>
                <a:cs typeface="Calibri"/>
              </a:rPr>
              <a:t>Wenn Sie Fragen zur Schulung oder dazu haben, wie spezifische lokale Anforderungen gelten, sprechen Sie mit Ihrem Vorgesetzten, der Personalabteilung oder kontaktieren Sie </a:t>
            </a:r>
            <a:r>
              <a:rPr lang="de" sz="1800" b="1" i="0" strike="noStrike" cap="none" spc="0" baseline="0">
                <a:solidFill>
                  <a:srgbClr val="008AFF"/>
                </a:solidFill>
                <a:effectLst/>
                <a:latin typeface="Calibri"/>
                <a:ea typeface="Calibri"/>
                <a:cs typeface="Calibri"/>
              </a:rPr>
              <a:t>compliance@rpminc.com</a:t>
            </a:r>
          </a:p>
          <a:p>
            <a:pPr marL="342900" indent="-342900">
              <a:buFont typeface="+mj-lt"/>
              <a:buAutoNum type="arabicPeriod"/>
            </a:pPr>
            <a:endParaRPr lang="en-GB"/>
          </a:p>
          <a:p>
            <a:pPr marL="342900" indent="-342900">
              <a:buFont typeface="+mj-lt"/>
              <a:buAutoNum type="arabicPeriod"/>
            </a:pPr>
            <a:endParaRPr lang="en-GB"/>
          </a:p>
        </p:txBody>
      </p:sp>
    </p:spTree>
    <p:extLst>
      <p:ext uri="{BB962C8B-B14F-4D97-AF65-F5344CB8AC3E}">
        <p14:creationId xmlns:p14="http://schemas.microsoft.com/office/powerpoint/2010/main" val="2097898915"/>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ED5DCA-792C-6FB9-BAC9-D3F76F7F9593}"/>
              </a:ext>
            </a:extLst>
          </p:cNvPr>
          <p:cNvSpPr>
            <a:spLocks noGrp="1"/>
          </p:cNvSpPr>
          <p:nvPr>
            <p:ph type="title"/>
          </p:nvPr>
        </p:nvSpPr>
        <p:spPr>
          <a:xfrm>
            <a:off x="822960" y="182880"/>
            <a:ext cx="7358907" cy="787032"/>
          </a:xfrm>
        </p:spPr>
        <p:txBody>
          <a:bodyPr vert="horz" lIns="91440" tIns="45720" rIns="91440" bIns="45720" rtlCol="0" anchor="ctr">
            <a:normAutofit/>
          </a:bodyPr>
          <a:lstStyle/>
          <a:p>
            <a:r>
              <a:rPr lang="de" sz="2000" b="0" i="0" strike="noStrike" cap="none" spc="0" baseline="0">
                <a:solidFill>
                  <a:srgbClr val="FFFFFF"/>
                </a:solidFill>
                <a:effectLst/>
                <a:latin typeface="Calibri Light"/>
                <a:ea typeface="Calibri Light"/>
                <a:cs typeface="Calibri Light"/>
              </a:rPr>
              <a:t>Verhalten am Arbeitsplatz – Fragen, die Sie sich stellen sollten</a:t>
            </a:r>
          </a:p>
        </p:txBody>
      </p:sp>
      <p:sp>
        <p:nvSpPr>
          <p:cNvPr id="5" name="Slide Number Placeholder 4">
            <a:extLst>
              <a:ext uri="{FF2B5EF4-FFF2-40B4-BE49-F238E27FC236}">
                <a16:creationId xmlns:a16="http://schemas.microsoft.com/office/drawing/2014/main" id="{D0BAD8F0-78CD-0417-D5E3-330EB5197738}"/>
              </a:ext>
            </a:extLst>
          </p:cNvPr>
          <p:cNvSpPr>
            <a:spLocks noGrp="1"/>
          </p:cNvSpPr>
          <p:nvPr>
            <p:ph type="sldNum" sz="quarter" idx="4"/>
          </p:nvPr>
        </p:nvSpPr>
        <p:spPr>
          <a:xfrm>
            <a:off x="8663437" y="6558353"/>
            <a:ext cx="480561" cy="365125"/>
          </a:xfrm>
        </p:spPr>
        <p:txBody>
          <a:bodyPr vert="horz" lIns="91440" tIns="45720" rIns="91440" bIns="45720" rtlCol="0" anchor="ctr">
            <a:normAutofit/>
          </a:bodyPr>
          <a:lstStyle/>
          <a:p>
            <a:pPr>
              <a:spcAft>
                <a:spcPts val="600"/>
              </a:spcAft>
            </a:pPr>
            <a:fld id="{BB5FC4A1-A2DE-4EB5-9A46-57D39B4235EC}" type="slidenum">
              <a:rPr lang="en-US" smtClean="0"/>
              <a:pPr>
                <a:spcAft>
                  <a:spcPts val="600"/>
                </a:spcAft>
              </a:pPr>
              <a:t>20</a:t>
            </a:fld>
            <a:endParaRPr lang="en-US"/>
          </a:p>
        </p:txBody>
      </p:sp>
      <p:graphicFrame>
        <p:nvGraphicFramePr>
          <p:cNvPr id="18" name="TextBox 8">
            <a:extLst>
              <a:ext uri="{FF2B5EF4-FFF2-40B4-BE49-F238E27FC236}">
                <a16:creationId xmlns:a16="http://schemas.microsoft.com/office/drawing/2014/main" id="{F2583A9D-281C-4C52-9347-26153EBC053D}"/>
              </a:ext>
            </a:extLst>
          </p:cNvPr>
          <p:cNvGraphicFramePr/>
          <p:nvPr>
            <p:extLst>
              <p:ext uri="{D42A27DB-BD31-4B8C-83A1-F6EECF244321}">
                <p14:modId xmlns:p14="http://schemas.microsoft.com/office/powerpoint/2010/main" val="3412389927"/>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1158308"/>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E1F89A-BFF8-A65E-BF48-AEE160C282E6}"/>
              </a:ext>
            </a:extLst>
          </p:cNvPr>
          <p:cNvSpPr>
            <a:spLocks noGrp="1"/>
          </p:cNvSpPr>
          <p:nvPr>
            <p:ph type="title"/>
          </p:nvPr>
        </p:nvSpPr>
        <p:spPr/>
        <p:txBody>
          <a:bodyPr/>
          <a:lstStyle/>
          <a:p>
            <a:r>
              <a:rPr lang="de" sz="2000" b="0" i="0" strike="noStrike" cap="none" spc="0" baseline="0">
                <a:solidFill>
                  <a:srgbClr val="FFFFFF"/>
                </a:solidFill>
                <a:effectLst/>
                <a:latin typeface="Calibri Light"/>
                <a:ea typeface="Calibri Light"/>
                <a:cs typeface="Calibri Light"/>
              </a:rPr>
              <a:t>Zuschauer – unerwünschte Verhaltensweisen erkennen</a:t>
            </a:r>
          </a:p>
        </p:txBody>
      </p:sp>
      <p:sp>
        <p:nvSpPr>
          <p:cNvPr id="3" name="Content Placeholder 2">
            <a:extLst>
              <a:ext uri="{FF2B5EF4-FFF2-40B4-BE49-F238E27FC236}">
                <a16:creationId xmlns:a16="http://schemas.microsoft.com/office/drawing/2014/main" id="{EE3BD1DC-4EC2-EFA1-8D3E-8824C4794976}"/>
              </a:ext>
            </a:extLst>
          </p:cNvPr>
          <p:cNvSpPr>
            <a:spLocks noGrp="1"/>
          </p:cNvSpPr>
          <p:nvPr>
            <p:ph idx="1"/>
          </p:nvPr>
        </p:nvSpPr>
        <p:spPr/>
        <p:txBody>
          <a:bodyPr/>
          <a:lstStyle/>
          <a:p>
            <a:pPr marL="0" indent="0">
              <a:buNone/>
            </a:pPr>
            <a:r>
              <a:rPr lang="de" sz="1600" b="0" i="0" strike="noStrike" cap="none" spc="0" baseline="0">
                <a:solidFill>
                  <a:srgbClr val="000000"/>
                </a:solidFill>
                <a:effectLst/>
                <a:latin typeface="Calibri"/>
                <a:ea typeface="Calibri"/>
                <a:cs typeface="Calibri"/>
              </a:rPr>
              <a:t>Signale können sowohl verbal als auch nonverbal sein</a:t>
            </a:r>
          </a:p>
          <a:p>
            <a:endParaRPr lang="en-GB"/>
          </a:p>
        </p:txBody>
      </p:sp>
      <p:sp>
        <p:nvSpPr>
          <p:cNvPr id="5" name="Slide Number Placeholder 4">
            <a:extLst>
              <a:ext uri="{FF2B5EF4-FFF2-40B4-BE49-F238E27FC236}">
                <a16:creationId xmlns:a16="http://schemas.microsoft.com/office/drawing/2014/main" id="{B77514DD-D440-21D7-095B-70FC70BAC091}"/>
              </a:ext>
            </a:extLst>
          </p:cNvPr>
          <p:cNvSpPr>
            <a:spLocks noGrp="1"/>
          </p:cNvSpPr>
          <p:nvPr>
            <p:ph type="sldNum" sz="quarter" idx="4"/>
          </p:nvPr>
        </p:nvSpPr>
        <p:spPr/>
        <p:txBody>
          <a:bodyPr/>
          <a:lstStyle/>
          <a:p>
            <a:fld id="{BB5FC4A1-A2DE-4EB5-9A46-57D39B4235EC}" type="slidenum">
              <a:rPr lang="en-US" smtClean="0"/>
              <a:t>21</a:t>
            </a:fld>
            <a:endParaRPr lang="en-US"/>
          </a:p>
        </p:txBody>
      </p:sp>
      <p:graphicFrame>
        <p:nvGraphicFramePr>
          <p:cNvPr id="4" name="Diagram 3">
            <a:extLst>
              <a:ext uri="{FF2B5EF4-FFF2-40B4-BE49-F238E27FC236}">
                <a16:creationId xmlns:a16="http://schemas.microsoft.com/office/drawing/2014/main" id="{B3FD9947-2372-778F-84F0-D2FAEFF1D8DE}"/>
              </a:ext>
            </a:extLst>
          </p:cNvPr>
          <p:cNvGraphicFramePr/>
          <p:nvPr>
            <p:extLst>
              <p:ext uri="{D42A27DB-BD31-4B8C-83A1-F6EECF244321}">
                <p14:modId xmlns:p14="http://schemas.microsoft.com/office/powerpoint/2010/main" val="693162674"/>
              </p:ext>
            </p:extLst>
          </p:nvPr>
        </p:nvGraphicFramePr>
        <p:xfrm>
          <a:off x="822960" y="2127036"/>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537229"/>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0F103-B53A-E0D6-FC92-E87A68ECFBBC}"/>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de" sz="2000" b="0" i="0" strike="noStrike" cap="none" spc="0" baseline="0">
                <a:solidFill>
                  <a:srgbClr val="FFFFFF"/>
                </a:solidFill>
                <a:effectLst/>
                <a:latin typeface="Calibri Light"/>
                <a:ea typeface="Calibri Light"/>
                <a:cs typeface="Calibri Light"/>
              </a:rPr>
              <a:t>Was zu tun ist, wenn Sie unangemessenes Verhalten beobachten</a:t>
            </a:r>
          </a:p>
        </p:txBody>
      </p:sp>
      <p:sp>
        <p:nvSpPr>
          <p:cNvPr id="14" name="TextBox 13">
            <a:extLst>
              <a:ext uri="{FF2B5EF4-FFF2-40B4-BE49-F238E27FC236}">
                <a16:creationId xmlns:a16="http://schemas.microsoft.com/office/drawing/2014/main" id="{A1FFE694-DF65-A7CA-A6CD-EE2D7965DCCB}"/>
              </a:ext>
            </a:extLst>
          </p:cNvPr>
          <p:cNvSpPr txBox="1"/>
          <p:nvPr/>
        </p:nvSpPr>
        <p:spPr>
          <a:xfrm>
            <a:off x="4857750" y="1280160"/>
            <a:ext cx="3886200" cy="5135424"/>
          </a:xfrm>
          <a:prstGeom prst="rect">
            <a:avLst/>
          </a:prstGeom>
        </p:spPr>
        <p:txBody>
          <a:bodyPr vert="horz" lIns="91440" tIns="45720" rIns="91440" bIns="45720" rtlCol="0" anchor="ctr">
            <a:normAutofit/>
          </a:bodyPr>
          <a:lstStyle/>
          <a:p>
            <a:pPr defTabSz="685749">
              <a:lnSpc>
                <a:spcPct val="90000"/>
              </a:lnSpc>
              <a:spcBef>
                <a:spcPts val="750"/>
              </a:spcBef>
            </a:pPr>
            <a:r>
              <a:rPr lang="de" sz="2100" b="0" i="0" strike="noStrike" cap="none" spc="0" baseline="0">
                <a:solidFill>
                  <a:srgbClr val="000000"/>
                </a:solidFill>
                <a:effectLst/>
                <a:latin typeface="Calibri"/>
                <a:ea typeface="Calibri"/>
                <a:cs typeface="Calibri"/>
              </a:rPr>
              <a:t>Nach Erhalt einer Beschwerde führt RPM eine unverzügliche, gründliche und unparteiische Untersuchung durch und ergreift gegebenenfalls sofortige und angemessene Korrekturmaßnahmen. </a:t>
            </a:r>
          </a:p>
          <a:p>
            <a:pPr marL="171438" indent="-171438" defTabSz="685749">
              <a:lnSpc>
                <a:spcPct val="90000"/>
              </a:lnSpc>
              <a:spcBef>
                <a:spcPts val="750"/>
              </a:spcBef>
              <a:buFont typeface="Arial" panose="020B0604020202020204" pitchFamily="34" charset="0"/>
              <a:buChar char="•"/>
            </a:pPr>
            <a:endParaRPr lang="en-US" sz="2100"/>
          </a:p>
          <a:p>
            <a:pPr defTabSz="685749">
              <a:lnSpc>
                <a:spcPct val="90000"/>
              </a:lnSpc>
              <a:spcBef>
                <a:spcPts val="750"/>
              </a:spcBef>
            </a:pPr>
            <a:r>
              <a:rPr lang="de" sz="2100" b="0" i="0" strike="noStrike" cap="none" spc="0" baseline="0">
                <a:solidFill>
                  <a:srgbClr val="000000"/>
                </a:solidFill>
                <a:effectLst/>
                <a:latin typeface="Calibri"/>
                <a:ea typeface="Calibri"/>
                <a:cs typeface="Calibri"/>
              </a:rPr>
              <a:t>An einigen Standorten können Personen, die gegen Gesetze verstoßen, zivil- und strafrechtlichen Sanktionen unterliegen</a:t>
            </a:r>
          </a:p>
        </p:txBody>
      </p:sp>
      <p:sp>
        <p:nvSpPr>
          <p:cNvPr id="5" name="Slide Number Placeholder 4" hidden="1">
            <a:extLst>
              <a:ext uri="{FF2B5EF4-FFF2-40B4-BE49-F238E27FC236}">
                <a16:creationId xmlns:a16="http://schemas.microsoft.com/office/drawing/2014/main" id="{CAC6A289-2555-7CE5-76F6-FCBF4B2E0BAB}"/>
              </a:ext>
            </a:extLst>
          </p:cNvPr>
          <p:cNvSpPr>
            <a:spLocks noGrp="1"/>
          </p:cNvSpPr>
          <p:nvPr>
            <p:ph type="sldNum" sz="quarter" idx="4294967295"/>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22</a:t>
            </a:fld>
            <a:endParaRPr lang="en-US"/>
          </a:p>
        </p:txBody>
      </p:sp>
      <p:graphicFrame>
        <p:nvGraphicFramePr>
          <p:cNvPr id="9" name="Content Placeholder 2">
            <a:extLst>
              <a:ext uri="{FF2B5EF4-FFF2-40B4-BE49-F238E27FC236}">
                <a16:creationId xmlns:a16="http://schemas.microsoft.com/office/drawing/2014/main" id="{35D2C2CD-0245-DEC8-473D-8517566B1470}"/>
              </a:ext>
            </a:extLst>
          </p:cNvPr>
          <p:cNvGraphicFramePr>
            <a:graphicFrameLocks noGrp="1"/>
          </p:cNvGraphicFramePr>
          <p:nvPr>
            <p:ph sz="half" idx="1"/>
            <p:extLst>
              <p:ext uri="{D42A27DB-BD31-4B8C-83A1-F6EECF244321}">
                <p14:modId xmlns:p14="http://schemas.microsoft.com/office/powerpoint/2010/main" val="1178588699"/>
              </p:ext>
            </p:extLst>
          </p:nvPr>
        </p:nvGraphicFramePr>
        <p:xfrm>
          <a:off x="628650" y="1508760"/>
          <a:ext cx="3886200" cy="51354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61251587"/>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CB6B62-796B-C1D4-4763-5A20739A7519}"/>
              </a:ext>
            </a:extLst>
          </p:cNvPr>
          <p:cNvSpPr>
            <a:spLocks noGrp="1"/>
          </p:cNvSpPr>
          <p:nvPr>
            <p:ph type="title"/>
          </p:nvPr>
        </p:nvSpPr>
        <p:spPr>
          <a:xfrm>
            <a:off x="822959" y="182880"/>
            <a:ext cx="7381415" cy="729882"/>
          </a:xfrm>
        </p:spPr>
        <p:txBody>
          <a:bodyPr anchor="ctr">
            <a:normAutofit/>
          </a:bodyPr>
          <a:lstStyle/>
          <a:p>
            <a:r>
              <a:rPr lang="de" sz="2000" b="0" i="0" strike="noStrike" cap="none" spc="0" baseline="0">
                <a:solidFill>
                  <a:srgbClr val="FFFFFF"/>
                </a:solidFill>
                <a:effectLst/>
                <a:latin typeface="Calibri Light"/>
                <a:ea typeface="Calibri Light"/>
                <a:cs typeface="Calibri Light"/>
              </a:rPr>
              <a:t>Die Richtlinie zur Vermeidung von Vergeltungsmaßnahmen von RPM </a:t>
            </a:r>
          </a:p>
        </p:txBody>
      </p:sp>
      <p:sp>
        <p:nvSpPr>
          <p:cNvPr id="11" name="Content Placeholder 2">
            <a:extLst>
              <a:ext uri="{FF2B5EF4-FFF2-40B4-BE49-F238E27FC236}">
                <a16:creationId xmlns:a16="http://schemas.microsoft.com/office/drawing/2014/main" id="{6C1BA9E3-9396-DBB5-8249-DC0FDEC133B2}"/>
              </a:ext>
            </a:extLst>
          </p:cNvPr>
          <p:cNvSpPr>
            <a:spLocks noGrp="1"/>
          </p:cNvSpPr>
          <p:nvPr>
            <p:ph sz="half" idx="1"/>
          </p:nvPr>
        </p:nvSpPr>
        <p:spPr>
          <a:xfrm>
            <a:off x="628650" y="1508760"/>
            <a:ext cx="3886200" cy="5135424"/>
          </a:xfrm>
        </p:spPr>
        <p:txBody>
          <a:bodyPr>
            <a:normAutofit fontScale="92500" lnSpcReduction="10000"/>
          </a:bodyPr>
          <a:lstStyle/>
          <a:p>
            <a:pPr marL="0" indent="0">
              <a:buNone/>
            </a:pPr>
            <a:r>
              <a:rPr lang="de" sz="1600" b="1" i="0" strike="noStrike" cap="none" spc="0" baseline="0">
                <a:solidFill>
                  <a:srgbClr val="000000"/>
                </a:solidFill>
                <a:effectLst/>
                <a:latin typeface="Calibri"/>
                <a:ea typeface="Calibri"/>
                <a:cs typeface="Calibri"/>
              </a:rPr>
              <a:t>Wenn Sie Bedenken haben oder sich etwas nicht richtig anfühlt, melden Sie sich zu Wort.</a:t>
            </a:r>
          </a:p>
          <a:p>
            <a:r>
              <a:rPr lang="de" sz="1600" b="0" i="0" strike="noStrike" cap="none" spc="0" baseline="0">
                <a:solidFill>
                  <a:srgbClr val="373535"/>
                </a:solidFill>
                <a:effectLst/>
                <a:latin typeface="Calibri"/>
                <a:ea typeface="Calibri"/>
                <a:cs typeface="Calibri"/>
              </a:rPr>
              <a:t>Sie können Ihre Bedenken Ihrem Vorgesetzten, der Personal-, Rechts- und Compliance-Abteilung oder über die RPM-Hotline melden.</a:t>
            </a:r>
          </a:p>
          <a:p>
            <a:endParaRPr lang="en-US" sz="1600">
              <a:solidFill>
                <a:srgbClr val="373535"/>
              </a:solidFill>
            </a:endParaRPr>
          </a:p>
          <a:p>
            <a:r>
              <a:rPr lang="de" sz="1600" b="0" i="0" strike="noStrike" cap="none" spc="0" baseline="0">
                <a:solidFill>
                  <a:srgbClr val="373535"/>
                </a:solidFill>
                <a:effectLst/>
                <a:latin typeface="Calibri"/>
                <a:ea typeface="Calibri"/>
                <a:cs typeface="Calibri"/>
              </a:rPr>
              <a:t>Alle gutgläubigen Berichte werden ernst genommen und sorgfältig geprüft. Meldungen von Verstößen gegen das Gesetz, unsere Werte und Erwartungen von 168 oder unethisches Verhalten werden umgehend und angemessen untersucht.</a:t>
            </a:r>
          </a:p>
          <a:p>
            <a:endParaRPr lang="en-US" sz="1600"/>
          </a:p>
          <a:p>
            <a:pPr marL="0" marR="0" lvl="0" indent="0">
              <a:lnSpc>
                <a:spcPct val="107000"/>
              </a:lnSpc>
              <a:spcBef>
                <a:spcPct val="0"/>
              </a:spcBef>
              <a:spcAft>
                <a:spcPct val="0"/>
              </a:spcAft>
              <a:buNone/>
            </a:pPr>
            <a:r>
              <a:rPr lang="de" sz="1600" b="0" i="0" strike="noStrike" cap="none" spc="0" baseline="0">
                <a:solidFill>
                  <a:srgbClr val="000000"/>
                </a:solidFill>
                <a:effectLst/>
                <a:latin typeface="Calibri"/>
                <a:ea typeface="Calibri"/>
                <a:cs typeface="Calibri"/>
              </a:rPr>
              <a:t>Wenn Sie Fehlverhalten melden und es in gutem Glauben melden, verbietet Ihnen die Richtlinie zu Vergeltungsmaßnahmen von RPM, gekündigt, herabgestuft, suspendiert, verurteilt, disziplinarisch, übertragen, bedroht, belästigt oder in irgendeiner Weise diskriminiert zu werden, weil Sie Ihre Bedenken geäußert haben. </a:t>
            </a:r>
          </a:p>
          <a:p>
            <a:pPr marL="57162" marR="0" indent="0">
              <a:lnSpc>
                <a:spcPct val="107000"/>
              </a:lnSpc>
              <a:spcBef>
                <a:spcPct val="0"/>
              </a:spcBef>
              <a:spcAft>
                <a:spcPts val="800"/>
              </a:spcAft>
              <a:buNone/>
            </a:pPr>
            <a:endParaRPr lang="en-US" sz="1700" kern="100">
              <a:effectLst/>
              <a:ea typeface="Calibri" panose="020F0502020204030204" pitchFamily="34" charset="0"/>
              <a:cs typeface="Times New Roman" panose="02020603050405020304" pitchFamily="18" charset="0"/>
            </a:endParaRPr>
          </a:p>
          <a:p>
            <a:endParaRPr lang="en-US"/>
          </a:p>
        </p:txBody>
      </p:sp>
      <p:pic>
        <p:nvPicPr>
          <p:cNvPr id="6" name="Content Placeholder 5" descr="A poster of a company&#10;&#10;Description automatically generated">
            <a:extLst>
              <a:ext uri="{FF2B5EF4-FFF2-40B4-BE49-F238E27FC236}">
                <a16:creationId xmlns:a16="http://schemas.microsoft.com/office/drawing/2014/main" id="{486A5F75-0C93-46BB-29E1-EEFA342C3D92}"/>
              </a:ext>
            </a:extLst>
          </p:cNvPr>
          <p:cNvPicPr>
            <a:picLocks noGrp="1" noChangeAspect="1"/>
          </p:cNvPicPr>
          <p:nvPr>
            <p:ph sz="half" idx="2"/>
          </p:nvPr>
        </p:nvPicPr>
        <p:blipFill>
          <a:blip r:embed="rId2"/>
          <a:stretch>
            <a:fillRect/>
          </a:stretch>
        </p:blipFill>
        <p:spPr>
          <a:xfrm>
            <a:off x="4629150" y="1511323"/>
            <a:ext cx="3886200" cy="5130297"/>
          </a:xfrm>
          <a:noFill/>
        </p:spPr>
      </p:pic>
    </p:spTree>
    <p:extLst>
      <p:ext uri="{BB962C8B-B14F-4D97-AF65-F5344CB8AC3E}">
        <p14:creationId xmlns:p14="http://schemas.microsoft.com/office/powerpoint/2010/main" val="3534279248"/>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A7B45-5B3C-3DB0-1BE4-A2E8E5DFB955}"/>
              </a:ext>
            </a:extLst>
          </p:cNvPr>
          <p:cNvSpPr>
            <a:spLocks noGrp="1"/>
          </p:cNvSpPr>
          <p:nvPr>
            <p:ph type="title"/>
          </p:nvPr>
        </p:nvSpPr>
        <p:spPr>
          <a:xfrm>
            <a:off x="822960" y="182880"/>
            <a:ext cx="7358907" cy="787032"/>
          </a:xfrm>
        </p:spPr>
        <p:txBody>
          <a:bodyPr anchor="ctr">
            <a:normAutofit/>
          </a:bodyPr>
          <a:lstStyle/>
          <a:p>
            <a:r>
              <a:rPr lang="de" sz="2000" b="0" i="0" strike="noStrike" cap="none" spc="0" baseline="0">
                <a:solidFill>
                  <a:srgbClr val="FFFFFF"/>
                </a:solidFill>
                <a:effectLst/>
                <a:latin typeface="Calibri Light"/>
                <a:ea typeface="Calibri Light"/>
                <a:cs typeface="Calibri Light"/>
              </a:rPr>
              <a:t>Vergeltungsmaßnahmen </a:t>
            </a:r>
          </a:p>
        </p:txBody>
      </p:sp>
      <p:sp>
        <p:nvSpPr>
          <p:cNvPr id="5" name="Slide Number Placeholder 4">
            <a:extLst>
              <a:ext uri="{FF2B5EF4-FFF2-40B4-BE49-F238E27FC236}">
                <a16:creationId xmlns:a16="http://schemas.microsoft.com/office/drawing/2014/main" id="{0481DFAF-2C91-7422-79F7-D1B6D66C8A26}"/>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24</a:t>
            </a:fld>
            <a:endParaRPr lang="en-US"/>
          </a:p>
        </p:txBody>
      </p:sp>
      <p:graphicFrame>
        <p:nvGraphicFramePr>
          <p:cNvPr id="8" name="Content Placeholder 2">
            <a:extLst>
              <a:ext uri="{FF2B5EF4-FFF2-40B4-BE49-F238E27FC236}">
                <a16:creationId xmlns:a16="http://schemas.microsoft.com/office/drawing/2014/main" id="{A78DC15E-F928-C464-FBA0-36933CA4DB49}"/>
              </a:ext>
            </a:extLst>
          </p:cNvPr>
          <p:cNvGraphicFramePr>
            <a:graphicFrameLocks noGrp="1"/>
          </p:cNvGraphicFramePr>
          <p:nvPr>
            <p:ph idx="1"/>
            <p:extLst>
              <p:ext uri="{D42A27DB-BD31-4B8C-83A1-F6EECF244321}">
                <p14:modId xmlns:p14="http://schemas.microsoft.com/office/powerpoint/2010/main" val="1905503871"/>
              </p:ext>
            </p:extLst>
          </p:nvPr>
        </p:nvGraphicFramePr>
        <p:xfrm>
          <a:off x="432562" y="2160606"/>
          <a:ext cx="8074836" cy="439774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698B0EE6-D2E3-A34A-D0E6-B7CFF8ADAFCF}"/>
              </a:ext>
            </a:extLst>
          </p:cNvPr>
          <p:cNvSpPr txBox="1"/>
          <p:nvPr/>
        </p:nvSpPr>
        <p:spPr>
          <a:xfrm>
            <a:off x="432562" y="1470164"/>
            <a:ext cx="6995604" cy="365760"/>
          </a:xfrm>
          <a:prstGeom prst="rect">
            <a:avLst/>
          </a:prstGeom>
          <a:noFill/>
        </p:spPr>
        <p:txBody>
          <a:bodyPr wrap="square" rtlCol="0">
            <a:spAutoFit/>
          </a:bodyPr>
          <a:lstStyle/>
          <a:p>
            <a:r>
              <a:rPr lang="de" sz="1800" b="0" i="0" strike="noStrike" cap="none" spc="0" baseline="0">
                <a:solidFill>
                  <a:srgbClr val="000000"/>
                </a:solidFill>
                <a:effectLst/>
                <a:latin typeface="Calibri"/>
                <a:ea typeface="Calibri"/>
                <a:cs typeface="Calibri"/>
              </a:rPr>
              <a:t>Beispiele für Vergeltungsmaßnahmen:</a:t>
            </a:r>
          </a:p>
        </p:txBody>
      </p:sp>
    </p:spTree>
    <p:extLst>
      <p:ext uri="{BB962C8B-B14F-4D97-AF65-F5344CB8AC3E}">
        <p14:creationId xmlns:p14="http://schemas.microsoft.com/office/powerpoint/2010/main" val="3114590533"/>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00DF9-EC86-26D1-EB48-FAC8A23DB652}"/>
              </a:ext>
            </a:extLst>
          </p:cNvPr>
          <p:cNvSpPr>
            <a:spLocks noGrp="1"/>
          </p:cNvSpPr>
          <p:nvPr>
            <p:ph type="ctrTitle"/>
          </p:nvPr>
        </p:nvSpPr>
        <p:spPr>
          <a:xfrm>
            <a:off x="1143000" y="1122363"/>
            <a:ext cx="6858000" cy="2387600"/>
          </a:xfrm>
        </p:spPr>
        <p:txBody>
          <a:bodyPr anchor="b">
            <a:normAutofit/>
          </a:bodyPr>
          <a:lstStyle/>
          <a:p>
            <a:r>
              <a:rPr lang="de" sz="4500" b="0" i="0" strike="noStrike" cap="none" spc="0" baseline="0">
                <a:solidFill>
                  <a:srgbClr val="000000"/>
                </a:solidFill>
                <a:effectLst/>
                <a:latin typeface="Calibri Light"/>
                <a:ea typeface="Calibri Light"/>
                <a:cs typeface="Calibri Light"/>
              </a:rPr>
              <a:t>Richtig oder falsch?</a:t>
            </a:r>
          </a:p>
        </p:txBody>
      </p:sp>
      <p:sp>
        <p:nvSpPr>
          <p:cNvPr id="3" name="Content Placeholder 2">
            <a:extLst>
              <a:ext uri="{FF2B5EF4-FFF2-40B4-BE49-F238E27FC236}">
                <a16:creationId xmlns:a16="http://schemas.microsoft.com/office/drawing/2014/main" id="{D6504A50-C316-495F-A22D-CFF6B8954D8D}"/>
              </a:ext>
            </a:extLst>
          </p:cNvPr>
          <p:cNvSpPr>
            <a:spLocks noGrp="1"/>
          </p:cNvSpPr>
          <p:nvPr>
            <p:ph type="subTitle" idx="1"/>
          </p:nvPr>
        </p:nvSpPr>
        <p:spPr>
          <a:xfrm>
            <a:off x="1143000" y="3602038"/>
            <a:ext cx="6858000" cy="1655762"/>
          </a:xfrm>
        </p:spPr>
        <p:txBody>
          <a:bodyPr>
            <a:normAutofit/>
          </a:bodyPr>
          <a:lstStyle/>
          <a:p>
            <a:pPr marL="0" indent="0">
              <a:buNone/>
            </a:pPr>
            <a:r>
              <a:rPr lang="de" sz="1800" b="0" i="0" strike="noStrike" cap="none" spc="0" baseline="0">
                <a:solidFill>
                  <a:srgbClr val="000000"/>
                </a:solidFill>
                <a:effectLst/>
                <a:latin typeface="Calibri"/>
                <a:ea typeface="Calibri"/>
                <a:cs typeface="Calibri"/>
              </a:rPr>
              <a:t>Zusätzlich zu den Vorgesetzten können sich Kollegen an verbotenen Vergeltungsmaßnahmen beteiligen. </a:t>
            </a:r>
          </a:p>
        </p:txBody>
      </p:sp>
      <p:sp>
        <p:nvSpPr>
          <p:cNvPr id="4" name="Date Placeholder 3" hidden="1">
            <a:extLst>
              <a:ext uri="{FF2B5EF4-FFF2-40B4-BE49-F238E27FC236}">
                <a16:creationId xmlns:a16="http://schemas.microsoft.com/office/drawing/2014/main" id="{11DF32BB-A75F-A819-0F62-EAD6E91DC806}"/>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2ECA4A55-F7A7-46D2-6885-64D7C77172C8}"/>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25</a:t>
            </a:fld>
            <a:endParaRPr lang="en-US"/>
          </a:p>
        </p:txBody>
      </p:sp>
    </p:spTree>
    <p:extLst>
      <p:ext uri="{BB962C8B-B14F-4D97-AF65-F5344CB8AC3E}">
        <p14:creationId xmlns:p14="http://schemas.microsoft.com/office/powerpoint/2010/main" val="894928972"/>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FC93E8-D982-EE5F-722D-C8FFD4B1FB5E}"/>
              </a:ext>
            </a:extLst>
          </p:cNvPr>
          <p:cNvSpPr>
            <a:spLocks noGrp="1"/>
          </p:cNvSpPr>
          <p:nvPr>
            <p:ph type="ctrTitle"/>
          </p:nvPr>
        </p:nvSpPr>
        <p:spPr>
          <a:xfrm>
            <a:off x="1143000" y="1122363"/>
            <a:ext cx="6858000" cy="2387600"/>
          </a:xfrm>
        </p:spPr>
        <p:txBody>
          <a:bodyPr anchor="b">
            <a:normAutofit/>
          </a:bodyPr>
          <a:lstStyle/>
          <a:p>
            <a:r>
              <a:rPr lang="de" sz="4500" b="0" i="0" strike="noStrike" cap="none" spc="0" baseline="0">
                <a:solidFill>
                  <a:srgbClr val="000000"/>
                </a:solidFill>
                <a:effectLst/>
                <a:latin typeface="Calibri Light"/>
                <a:ea typeface="Calibri Light"/>
                <a:cs typeface="Calibri Light"/>
              </a:rPr>
              <a:t>Antwort...</a:t>
            </a:r>
          </a:p>
        </p:txBody>
      </p:sp>
      <p:sp>
        <p:nvSpPr>
          <p:cNvPr id="3" name="Content Placeholder 2">
            <a:extLst>
              <a:ext uri="{FF2B5EF4-FFF2-40B4-BE49-F238E27FC236}">
                <a16:creationId xmlns:a16="http://schemas.microsoft.com/office/drawing/2014/main" id="{2A8CED9B-3AA4-6657-52D7-A3AE595B4F07}"/>
              </a:ext>
            </a:extLst>
          </p:cNvPr>
          <p:cNvSpPr>
            <a:spLocks noGrp="1"/>
          </p:cNvSpPr>
          <p:nvPr>
            <p:ph type="subTitle" idx="1"/>
          </p:nvPr>
        </p:nvSpPr>
        <p:spPr>
          <a:xfrm>
            <a:off x="1143000" y="3602038"/>
            <a:ext cx="6858000" cy="1655762"/>
          </a:xfrm>
        </p:spPr>
        <p:txBody>
          <a:bodyPr>
            <a:normAutofit/>
          </a:bodyPr>
          <a:lstStyle/>
          <a:p>
            <a:pPr marL="0" indent="0">
              <a:buNone/>
            </a:pPr>
            <a:r>
              <a:rPr lang="de" sz="1800" b="0" i="0" strike="noStrike" cap="none" spc="0" baseline="0">
                <a:solidFill>
                  <a:srgbClr val="000000"/>
                </a:solidFill>
                <a:effectLst/>
                <a:latin typeface="Calibri"/>
                <a:ea typeface="Calibri"/>
                <a:cs typeface="Calibri"/>
              </a:rPr>
              <a:t>Die obige Aussage ist </a:t>
            </a:r>
            <a:r>
              <a:rPr lang="de" sz="1800" b="1" i="0" strike="noStrike" cap="none" spc="0" baseline="0">
                <a:solidFill>
                  <a:srgbClr val="548235"/>
                </a:solidFill>
                <a:effectLst/>
                <a:latin typeface="Calibri"/>
                <a:ea typeface="Calibri"/>
                <a:cs typeface="Calibri"/>
              </a:rPr>
              <a:t>Richtig</a:t>
            </a:r>
            <a:r>
              <a:rPr lang="de" sz="1800" b="0" i="0" strike="noStrike" cap="none" spc="0" baseline="0">
                <a:solidFill>
                  <a:srgbClr val="000000"/>
                </a:solidFill>
                <a:effectLst/>
                <a:latin typeface="Calibri"/>
                <a:ea typeface="Calibri"/>
                <a:cs typeface="Calibri"/>
              </a:rPr>
              <a:t>.</a:t>
            </a:r>
          </a:p>
          <a:p>
            <a:pPr marL="0" indent="0">
              <a:buNone/>
            </a:pPr>
            <a:r>
              <a:rPr lang="de" sz="1800" b="0" i="0" strike="noStrike" cap="none" spc="0" baseline="0">
                <a:solidFill>
                  <a:srgbClr val="000000"/>
                </a:solidFill>
                <a:effectLst/>
                <a:latin typeface="Calibri"/>
                <a:ea typeface="Calibri"/>
                <a:cs typeface="Calibri"/>
              </a:rPr>
              <a:t>Jeder kann sich an Vergeltungsmaßnahmen beteiligen. Dazu gehören alle Manager oder Kollegen, die jemanden negativ behandeln, weil sie in gutem Glauben Bedenken oder Beschwerden geäußert haben. </a:t>
            </a:r>
          </a:p>
        </p:txBody>
      </p:sp>
      <p:sp>
        <p:nvSpPr>
          <p:cNvPr id="4" name="Date Placeholder 3" hidden="1">
            <a:extLst>
              <a:ext uri="{FF2B5EF4-FFF2-40B4-BE49-F238E27FC236}">
                <a16:creationId xmlns:a16="http://schemas.microsoft.com/office/drawing/2014/main" id="{8B475D77-4434-8297-1245-1F15891FDD89}"/>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A324A152-4068-BF32-861E-706313346D31}"/>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26</a:t>
            </a:fld>
            <a:endParaRPr lang="en-US"/>
          </a:p>
        </p:txBody>
      </p:sp>
    </p:spTree>
    <p:extLst>
      <p:ext uri="{BB962C8B-B14F-4D97-AF65-F5344CB8AC3E}">
        <p14:creationId xmlns:p14="http://schemas.microsoft.com/office/powerpoint/2010/main" val="3790215164"/>
      </p:ext>
    </p:extLst>
  </p:cSld>
  <p:clrMapOvr>
    <a:masterClrMapping/>
  </p:clrMapOvr>
  <p:transition spd="med">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80E09D-6897-4B77-6400-D2F29ADC89B9}"/>
              </a:ext>
            </a:extLst>
          </p:cNvPr>
          <p:cNvSpPr>
            <a:spLocks noGrp="1"/>
          </p:cNvSpPr>
          <p:nvPr>
            <p:ph type="title"/>
          </p:nvPr>
        </p:nvSpPr>
        <p:spPr/>
        <p:txBody>
          <a:bodyPr/>
          <a:lstStyle/>
          <a:p>
            <a:r>
              <a:rPr lang="de" sz="2100" b="0" i="0" strike="noStrike" cap="none" spc="0" baseline="0">
                <a:solidFill>
                  <a:srgbClr val="FFFFFF"/>
                </a:solidFill>
                <a:effectLst/>
                <a:latin typeface="Calibri Light"/>
                <a:ea typeface="Calibri Light"/>
                <a:cs typeface="Calibri Light"/>
              </a:rPr>
              <a:t>Vielen Dank </a:t>
            </a:r>
          </a:p>
        </p:txBody>
      </p:sp>
      <p:sp>
        <p:nvSpPr>
          <p:cNvPr id="3" name="Text Placeholder 2">
            <a:extLst>
              <a:ext uri="{FF2B5EF4-FFF2-40B4-BE49-F238E27FC236}">
                <a16:creationId xmlns:a16="http://schemas.microsoft.com/office/drawing/2014/main" id="{0D6490DC-2417-7F40-0F75-FE51C0D8A7AA}"/>
              </a:ext>
            </a:extLst>
          </p:cNvPr>
          <p:cNvSpPr>
            <a:spLocks noGrp="1"/>
          </p:cNvSpPr>
          <p:nvPr>
            <p:ph type="body" idx="1"/>
          </p:nvPr>
        </p:nvSpPr>
        <p:spPr/>
        <p:txBody>
          <a:bodyPr/>
          <a:lstStyle/>
          <a:p>
            <a:r>
              <a:rPr lang="de" sz="1900" b="0" i="0" strike="noStrike" cap="none" spc="0" baseline="0">
                <a:solidFill>
                  <a:srgbClr val="9DC3E6"/>
                </a:solidFill>
                <a:effectLst/>
                <a:latin typeface="Calibri"/>
                <a:ea typeface="Calibri"/>
                <a:cs typeface="Calibri"/>
              </a:rPr>
              <a:t>Alle Fragen</a:t>
            </a:r>
          </a:p>
        </p:txBody>
      </p:sp>
      <p:sp>
        <p:nvSpPr>
          <p:cNvPr id="4" name="Date Placeholder 3">
            <a:extLst>
              <a:ext uri="{FF2B5EF4-FFF2-40B4-BE49-F238E27FC236}">
                <a16:creationId xmlns:a16="http://schemas.microsoft.com/office/drawing/2014/main" id="{60BFC064-E450-DFF8-1DE8-AA171D254DE2}"/>
              </a:ext>
            </a:extLst>
          </p:cNvPr>
          <p:cNvSpPr>
            <a:spLocks noGrp="1"/>
          </p:cNvSpPr>
          <p:nvPr>
            <p:ph type="dt" sz="half" idx="2"/>
          </p:nvPr>
        </p:nvSpPr>
        <p:spPr/>
        <p:txBody>
          <a:bodyPr/>
          <a:lstStyle/>
          <a:p>
            <a:r>
              <a:rPr lang="de" sz="900" b="0" i="0" strike="noStrike" cap="none" spc="0" baseline="0">
                <a:solidFill>
                  <a:srgbClr val="898989"/>
                </a:solidFill>
                <a:effectLst/>
                <a:latin typeface="Calibri"/>
                <a:ea typeface="Calibri"/>
                <a:cs typeface="Calibri"/>
              </a:rPr>
              <a:t>[NAME DER VERANSTALTUNG] [DATUM]</a:t>
            </a:r>
          </a:p>
        </p:txBody>
      </p:sp>
      <p:sp>
        <p:nvSpPr>
          <p:cNvPr id="5" name="Slide Number Placeholder 4">
            <a:extLst>
              <a:ext uri="{FF2B5EF4-FFF2-40B4-BE49-F238E27FC236}">
                <a16:creationId xmlns:a16="http://schemas.microsoft.com/office/drawing/2014/main" id="{9DE5CE9B-CFAD-F960-4423-47EF2ED4DC71}"/>
              </a:ext>
            </a:extLst>
          </p:cNvPr>
          <p:cNvSpPr>
            <a:spLocks noGrp="1"/>
          </p:cNvSpPr>
          <p:nvPr>
            <p:ph type="sldNum" sz="quarter" idx="4"/>
          </p:nvPr>
        </p:nvSpPr>
        <p:spPr/>
        <p:txBody>
          <a:bodyPr/>
          <a:lstStyle/>
          <a:p>
            <a:fld id="{BB5FC4A1-A2DE-4EB5-9A46-57D39B4235EC}" type="slidenum">
              <a:rPr lang="en-US" smtClean="0"/>
              <a:t>27</a:t>
            </a:fld>
            <a:endParaRPr lang="en-US"/>
          </a:p>
        </p:txBody>
      </p:sp>
    </p:spTree>
    <p:extLst>
      <p:ext uri="{BB962C8B-B14F-4D97-AF65-F5344CB8AC3E}">
        <p14:creationId xmlns:p14="http://schemas.microsoft.com/office/powerpoint/2010/main" val="3912846417"/>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7F4DD6-51D1-771A-AD6D-9F880AB718EF}"/>
              </a:ext>
            </a:extLst>
          </p:cNvPr>
          <p:cNvSpPr>
            <a:spLocks noGrp="1"/>
          </p:cNvSpPr>
          <p:nvPr>
            <p:ph type="title"/>
          </p:nvPr>
        </p:nvSpPr>
        <p:spPr>
          <a:xfrm>
            <a:off x="822960" y="182880"/>
            <a:ext cx="7358907" cy="787032"/>
          </a:xfrm>
        </p:spPr>
        <p:txBody>
          <a:bodyPr anchor="ctr">
            <a:normAutofit/>
          </a:bodyPr>
          <a:lstStyle/>
          <a:p>
            <a:r>
              <a:rPr lang="de" sz="2000" b="0" i="0" strike="noStrike" cap="none" spc="0" baseline="0">
                <a:solidFill>
                  <a:srgbClr val="FFFFFF"/>
                </a:solidFill>
                <a:effectLst/>
                <a:latin typeface="Calibri Light"/>
                <a:ea typeface="Calibri Light"/>
                <a:cs typeface="Calibri Light"/>
              </a:rPr>
              <a:t>Diskriminierung und Belästigung verhindern</a:t>
            </a:r>
          </a:p>
        </p:txBody>
      </p:sp>
      <p:sp>
        <p:nvSpPr>
          <p:cNvPr id="5" name="Slide Number Placeholder 4">
            <a:extLst>
              <a:ext uri="{FF2B5EF4-FFF2-40B4-BE49-F238E27FC236}">
                <a16:creationId xmlns:a16="http://schemas.microsoft.com/office/drawing/2014/main" id="{400A5B44-1D6A-1552-FB9B-24626E626C36}"/>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3</a:t>
            </a:fld>
            <a:endParaRPr lang="en-US"/>
          </a:p>
        </p:txBody>
      </p:sp>
      <p:graphicFrame>
        <p:nvGraphicFramePr>
          <p:cNvPr id="7" name="Content Placeholder 2">
            <a:extLst>
              <a:ext uri="{FF2B5EF4-FFF2-40B4-BE49-F238E27FC236}">
                <a16:creationId xmlns:a16="http://schemas.microsoft.com/office/drawing/2014/main" id="{D59D3B30-F695-4079-1707-50E90A4119B3}"/>
              </a:ext>
            </a:extLst>
          </p:cNvPr>
          <p:cNvGraphicFramePr>
            <a:graphicFrameLocks noGrp="1"/>
          </p:cNvGraphicFramePr>
          <p:nvPr>
            <p:ph idx="1"/>
            <p:extLst>
              <p:ext uri="{D42A27DB-BD31-4B8C-83A1-F6EECF244321}">
                <p14:modId xmlns:p14="http://schemas.microsoft.com/office/powerpoint/2010/main" val="1621243714"/>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197889802"/>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3D1B3-2675-F520-80FE-B41A6F28C679}"/>
              </a:ext>
            </a:extLst>
          </p:cNvPr>
          <p:cNvSpPr>
            <a:spLocks noGrp="1"/>
          </p:cNvSpPr>
          <p:nvPr>
            <p:ph type="title"/>
          </p:nvPr>
        </p:nvSpPr>
        <p:spPr>
          <a:xfrm>
            <a:off x="822960" y="182880"/>
            <a:ext cx="7358907" cy="787032"/>
          </a:xfrm>
        </p:spPr>
        <p:txBody>
          <a:bodyPr anchor="ctr">
            <a:normAutofit/>
          </a:bodyPr>
          <a:lstStyle/>
          <a:p>
            <a:r>
              <a:rPr lang="de" sz="2000" b="0" i="0" strike="noStrike" cap="none" spc="0" baseline="0">
                <a:solidFill>
                  <a:srgbClr val="FFFFFF"/>
                </a:solidFill>
                <a:effectLst/>
                <a:latin typeface="Calibri Light"/>
                <a:ea typeface="Calibri Light"/>
                <a:cs typeface="Calibri Light"/>
              </a:rPr>
              <a:t>Was ist Belästigung und Diskriminierung? </a:t>
            </a:r>
          </a:p>
        </p:txBody>
      </p:sp>
      <p:sp>
        <p:nvSpPr>
          <p:cNvPr id="5" name="Slide Number Placeholder 4">
            <a:extLst>
              <a:ext uri="{FF2B5EF4-FFF2-40B4-BE49-F238E27FC236}">
                <a16:creationId xmlns:a16="http://schemas.microsoft.com/office/drawing/2014/main" id="{90FB72F0-297D-5604-D514-2CB5A39DCC5F}"/>
              </a:ext>
            </a:extLst>
          </p:cNvPr>
          <p:cNvSpPr>
            <a:spLocks noGrp="1"/>
          </p:cNvSpPr>
          <p:nvPr>
            <p:ph type="sldNum" sz="quarter" idx="4"/>
          </p:nvPr>
        </p:nvSpPr>
        <p:spPr>
          <a:xfrm>
            <a:off x="8663437" y="6558353"/>
            <a:ext cx="480561" cy="365125"/>
          </a:xfrm>
        </p:spPr>
        <p:txBody>
          <a:bodyPr anchor="ctr">
            <a:normAutofit/>
          </a:bodyPr>
          <a:lstStyle/>
          <a:p>
            <a:pPr>
              <a:spcAft>
                <a:spcPts val="600"/>
              </a:spcAft>
            </a:pPr>
            <a:fld id="{BB5FC4A1-A2DE-4EB5-9A46-57D39B4235EC}" type="slidenum">
              <a:rPr lang="en-US" smtClean="0"/>
              <a:pPr>
                <a:spcAft>
                  <a:spcPts val="600"/>
                </a:spcAft>
              </a:pPr>
              <a:t>4</a:t>
            </a:fld>
            <a:endParaRPr lang="en-US"/>
          </a:p>
        </p:txBody>
      </p:sp>
      <p:graphicFrame>
        <p:nvGraphicFramePr>
          <p:cNvPr id="10" name="Diagram 9">
            <a:extLst>
              <a:ext uri="{FF2B5EF4-FFF2-40B4-BE49-F238E27FC236}">
                <a16:creationId xmlns:a16="http://schemas.microsoft.com/office/drawing/2014/main" id="{4F99A9FE-9AEF-F820-F65C-BE5BE15E8FB5}"/>
              </a:ext>
            </a:extLst>
          </p:cNvPr>
          <p:cNvGraphicFramePr/>
          <p:nvPr>
            <p:extLst>
              <p:ext uri="{D42A27DB-BD31-4B8C-83A1-F6EECF244321}">
                <p14:modId xmlns:p14="http://schemas.microsoft.com/office/powerpoint/2010/main" val="3578929935"/>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26300358"/>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E0B15D-6946-CDFC-CF72-E48A4D07B9A6}"/>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de" sz="2000" b="0" i="0" strike="noStrike" cap="none" spc="0" baseline="0">
                <a:solidFill>
                  <a:srgbClr val="FFFFFF"/>
                </a:solidFill>
                <a:effectLst/>
                <a:latin typeface="Calibri Light"/>
                <a:ea typeface="Calibri Light"/>
                <a:cs typeface="Calibri Light"/>
              </a:rPr>
              <a:t>Geschützte Böden</a:t>
            </a:r>
          </a:p>
        </p:txBody>
      </p:sp>
      <p:sp>
        <p:nvSpPr>
          <p:cNvPr id="8" name="TextBox 7">
            <a:extLst>
              <a:ext uri="{FF2B5EF4-FFF2-40B4-BE49-F238E27FC236}">
                <a16:creationId xmlns:a16="http://schemas.microsoft.com/office/drawing/2014/main" id="{F4B8F4E0-B73C-7243-2528-40AE79BB37BD}"/>
              </a:ext>
            </a:extLst>
          </p:cNvPr>
          <p:cNvSpPr txBox="1"/>
          <p:nvPr/>
        </p:nvSpPr>
        <p:spPr>
          <a:xfrm>
            <a:off x="5488686" y="1059066"/>
            <a:ext cx="3454146" cy="1554480"/>
          </a:xfrm>
          <a:prstGeom prst="rect">
            <a:avLst/>
          </a:prstGeom>
        </p:spPr>
        <p:txBody>
          <a:bodyPr vert="horz" lIns="91440" tIns="45720" rIns="91440" bIns="45720" rtlCol="0">
            <a:normAutofit lnSpcReduction="10000"/>
          </a:bodyPr>
          <a:lstStyle/>
          <a:p>
            <a:pPr defTabSz="685749">
              <a:lnSpc>
                <a:spcPct val="90000"/>
              </a:lnSpc>
              <a:spcBef>
                <a:spcPts val="750"/>
              </a:spcBef>
            </a:pPr>
            <a:r>
              <a:rPr lang="de" sz="2100" b="1" i="0" strike="noStrike" cap="none" spc="0" baseline="0">
                <a:solidFill>
                  <a:srgbClr val="FF0000"/>
                </a:solidFill>
                <a:effectLst/>
                <a:latin typeface="Calibri"/>
                <a:ea typeface="Calibri"/>
                <a:cs typeface="Calibri"/>
              </a:rPr>
              <a:t>Denken Sie daran:</a:t>
            </a:r>
          </a:p>
          <a:p>
            <a:pPr defTabSz="685749">
              <a:lnSpc>
                <a:spcPct val="90000"/>
              </a:lnSpc>
              <a:spcBef>
                <a:spcPts val="750"/>
              </a:spcBef>
            </a:pPr>
            <a:r>
              <a:rPr lang="de" sz="2100" b="1" i="0" strike="noStrike" cap="none" spc="0" baseline="0">
                <a:solidFill>
                  <a:srgbClr val="FF0000"/>
                </a:solidFill>
                <a:effectLst/>
                <a:latin typeface="Calibri"/>
                <a:ea typeface="Calibri"/>
                <a:cs typeface="Calibri"/>
              </a:rPr>
              <a:t>Behandeln Sie alle mit Respekt. Unterscheiden Sie nicht auf einem geschützten Untergrund</a:t>
            </a:r>
          </a:p>
        </p:txBody>
      </p:sp>
      <p:graphicFrame>
        <p:nvGraphicFramePr>
          <p:cNvPr id="10" name="Content Placeholder 2">
            <a:extLst>
              <a:ext uri="{FF2B5EF4-FFF2-40B4-BE49-F238E27FC236}">
                <a16:creationId xmlns:a16="http://schemas.microsoft.com/office/drawing/2014/main" id="{504F7EF8-8C04-9AAF-56B7-B0D226A1EC06}"/>
              </a:ext>
            </a:extLst>
          </p:cNvPr>
          <p:cNvGraphicFramePr>
            <a:graphicFrameLocks noGrp="1"/>
          </p:cNvGraphicFramePr>
          <p:nvPr>
            <p:ph sz="half" idx="1"/>
            <p:extLst>
              <p:ext uri="{D42A27DB-BD31-4B8C-83A1-F6EECF244321}">
                <p14:modId xmlns:p14="http://schemas.microsoft.com/office/powerpoint/2010/main" val="150762908"/>
              </p:ext>
            </p:extLst>
          </p:nvPr>
        </p:nvGraphicFramePr>
        <p:xfrm>
          <a:off x="628650" y="2642616"/>
          <a:ext cx="8158734" cy="40015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hidden="1">
            <a:extLst>
              <a:ext uri="{FF2B5EF4-FFF2-40B4-BE49-F238E27FC236}">
                <a16:creationId xmlns:a16="http://schemas.microsoft.com/office/drawing/2014/main" id="{979A9FCC-7447-B3A4-6B62-83027FAB83C5}"/>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5</a:t>
            </a:fld>
            <a:endParaRPr lang="en-US"/>
          </a:p>
        </p:txBody>
      </p:sp>
      <p:sp>
        <p:nvSpPr>
          <p:cNvPr id="9" name="TextBox 8">
            <a:extLst>
              <a:ext uri="{FF2B5EF4-FFF2-40B4-BE49-F238E27FC236}">
                <a16:creationId xmlns:a16="http://schemas.microsoft.com/office/drawing/2014/main" id="{08195FBB-B7DC-ED84-3875-07C254CEF76A}"/>
              </a:ext>
            </a:extLst>
          </p:cNvPr>
          <p:cNvSpPr txBox="1"/>
          <p:nvPr/>
        </p:nvSpPr>
        <p:spPr>
          <a:xfrm>
            <a:off x="628650" y="1639669"/>
            <a:ext cx="4213098" cy="914400"/>
          </a:xfrm>
          <a:prstGeom prst="rect">
            <a:avLst/>
          </a:prstGeom>
          <a:noFill/>
        </p:spPr>
        <p:txBody>
          <a:bodyPr wrap="square" rtlCol="0">
            <a:spAutoFit/>
          </a:bodyPr>
          <a:lstStyle/>
          <a:p>
            <a:r>
              <a:rPr lang="de" sz="1800" b="0" i="0" strike="noStrike" cap="none" spc="0" baseline="0">
                <a:solidFill>
                  <a:srgbClr val="000000"/>
                </a:solidFill>
                <a:effectLst/>
                <a:latin typeface="Calibri"/>
                <a:ea typeface="Calibri"/>
                <a:cs typeface="Calibri"/>
              </a:rPr>
              <a:t>Je nachdem, wo Sie arbeiten, können diese Gründe Folgendes umfassen:</a:t>
            </a:r>
          </a:p>
        </p:txBody>
      </p:sp>
    </p:spTree>
    <p:extLst>
      <p:ext uri="{BB962C8B-B14F-4D97-AF65-F5344CB8AC3E}">
        <p14:creationId xmlns:p14="http://schemas.microsoft.com/office/powerpoint/2010/main" val="63271430"/>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B3EB6-D382-7E5B-2128-1E2AD33871C4}"/>
              </a:ext>
            </a:extLst>
          </p:cNvPr>
          <p:cNvSpPr>
            <a:spLocks noGrp="1"/>
          </p:cNvSpPr>
          <p:nvPr>
            <p:ph type="title"/>
          </p:nvPr>
        </p:nvSpPr>
        <p:spPr>
          <a:xfrm>
            <a:off x="822960" y="182880"/>
            <a:ext cx="7358907" cy="787032"/>
          </a:xfrm>
        </p:spPr>
        <p:txBody>
          <a:bodyPr vert="horz" lIns="91440" tIns="45720" rIns="91440" bIns="45720" rtlCol="0" anchor="ctr">
            <a:normAutofit/>
          </a:bodyPr>
          <a:lstStyle/>
          <a:p>
            <a:r>
              <a:rPr lang="de" sz="2000" b="0" i="0" strike="noStrike" cap="none" spc="0" baseline="0">
                <a:solidFill>
                  <a:srgbClr val="FFFFFF"/>
                </a:solidFill>
                <a:effectLst/>
                <a:latin typeface="Calibri Light"/>
                <a:ea typeface="Calibri Light"/>
                <a:cs typeface="Calibri Light"/>
              </a:rPr>
              <a:t>Sexuelle Belästigung</a:t>
            </a:r>
          </a:p>
        </p:txBody>
      </p:sp>
      <p:sp>
        <p:nvSpPr>
          <p:cNvPr id="5" name="Slide Number Placeholder 4">
            <a:extLst>
              <a:ext uri="{FF2B5EF4-FFF2-40B4-BE49-F238E27FC236}">
                <a16:creationId xmlns:a16="http://schemas.microsoft.com/office/drawing/2014/main" id="{6B3AC1A7-2052-7988-8268-65113A2221F1}"/>
              </a:ext>
            </a:extLst>
          </p:cNvPr>
          <p:cNvSpPr>
            <a:spLocks noGrp="1"/>
          </p:cNvSpPr>
          <p:nvPr>
            <p:ph type="sldNum" sz="quarter" idx="4"/>
          </p:nvPr>
        </p:nvSpPr>
        <p:spPr>
          <a:xfrm>
            <a:off x="8663437" y="6558353"/>
            <a:ext cx="480561" cy="365125"/>
          </a:xfrm>
        </p:spPr>
        <p:txBody>
          <a:bodyPr vert="horz" lIns="91440" tIns="45720" rIns="91440" bIns="45720" rtlCol="0" anchor="ctr">
            <a:normAutofit/>
          </a:bodyPr>
          <a:lstStyle/>
          <a:p>
            <a:pPr>
              <a:spcAft>
                <a:spcPts val="600"/>
              </a:spcAft>
            </a:pPr>
            <a:fld id="{BB5FC4A1-A2DE-4EB5-9A46-57D39B4235EC}" type="slidenum">
              <a:rPr lang="en-US" smtClean="0"/>
              <a:pPr>
                <a:spcAft>
                  <a:spcPts val="600"/>
                </a:spcAft>
              </a:pPr>
              <a:t>6</a:t>
            </a:fld>
            <a:endParaRPr lang="en-US"/>
          </a:p>
        </p:txBody>
      </p:sp>
      <p:graphicFrame>
        <p:nvGraphicFramePr>
          <p:cNvPr id="11" name="TextBox 7">
            <a:extLst>
              <a:ext uri="{FF2B5EF4-FFF2-40B4-BE49-F238E27FC236}">
                <a16:creationId xmlns:a16="http://schemas.microsoft.com/office/drawing/2014/main" id="{29D13C8E-8DED-44C4-E9EA-CA8A2E541890}"/>
              </a:ext>
            </a:extLst>
          </p:cNvPr>
          <p:cNvGraphicFramePr/>
          <p:nvPr>
            <p:extLst>
              <p:ext uri="{D42A27DB-BD31-4B8C-83A1-F6EECF244321}">
                <p14:modId xmlns:p14="http://schemas.microsoft.com/office/powerpoint/2010/main" val="1282310378"/>
              </p:ext>
            </p:extLst>
          </p:nvPr>
        </p:nvGraphicFramePr>
        <p:xfrm>
          <a:off x="432562" y="1508760"/>
          <a:ext cx="8074836" cy="4842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09587968"/>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41066B-6332-D0B1-464F-82C26F963585}"/>
              </a:ext>
            </a:extLst>
          </p:cNvPr>
          <p:cNvSpPr>
            <a:spLocks noGrp="1"/>
          </p:cNvSpPr>
          <p:nvPr>
            <p:ph type="ctrTitle"/>
          </p:nvPr>
        </p:nvSpPr>
        <p:spPr>
          <a:xfrm>
            <a:off x="1143000" y="1122363"/>
            <a:ext cx="6858000" cy="2387600"/>
          </a:xfrm>
        </p:spPr>
        <p:txBody>
          <a:bodyPr vert="horz" lIns="91440" tIns="45720" rIns="91440" bIns="45720" rtlCol="0" anchor="b">
            <a:normAutofit/>
          </a:bodyPr>
          <a:lstStyle/>
          <a:p>
            <a:r>
              <a:rPr lang="de" sz="4500" b="0" i="0" strike="noStrike" cap="none" spc="0" baseline="0">
                <a:solidFill>
                  <a:srgbClr val="000000"/>
                </a:solidFill>
                <a:effectLst/>
                <a:latin typeface="Calibri Light"/>
                <a:ea typeface="Calibri Light"/>
                <a:cs typeface="Calibri Light"/>
              </a:rPr>
              <a:t>RICHTIG ODER FALSCH?</a:t>
            </a:r>
          </a:p>
        </p:txBody>
      </p:sp>
      <p:sp>
        <p:nvSpPr>
          <p:cNvPr id="8" name="TextBox 7">
            <a:extLst>
              <a:ext uri="{FF2B5EF4-FFF2-40B4-BE49-F238E27FC236}">
                <a16:creationId xmlns:a16="http://schemas.microsoft.com/office/drawing/2014/main" id="{F639AE83-D0E3-35F9-4EDD-3B02A67DEA40}"/>
              </a:ext>
            </a:extLst>
          </p:cNvPr>
          <p:cNvSpPr txBox="1"/>
          <p:nvPr/>
        </p:nvSpPr>
        <p:spPr>
          <a:xfrm>
            <a:off x="1143000" y="3602038"/>
            <a:ext cx="6858000" cy="1655762"/>
          </a:xfrm>
          <a:prstGeom prst="rect">
            <a:avLst/>
          </a:prstGeom>
        </p:spPr>
        <p:txBody>
          <a:bodyPr vert="horz" lIns="91440" tIns="45720" rIns="91440" bIns="45720" rtlCol="0">
            <a:normAutofit/>
          </a:bodyPr>
          <a:lstStyle/>
          <a:p>
            <a:pPr algn="ctr" defTabSz="685749">
              <a:lnSpc>
                <a:spcPct val="90000"/>
              </a:lnSpc>
              <a:spcBef>
                <a:spcPts val="750"/>
              </a:spcBef>
            </a:pPr>
            <a:r>
              <a:rPr lang="de" sz="1800" b="0" i="0" strike="noStrike" cap="none" spc="0" baseline="0">
                <a:solidFill>
                  <a:srgbClr val="000000"/>
                </a:solidFill>
                <a:effectLst/>
                <a:latin typeface="Calibri"/>
                <a:ea typeface="Calibri"/>
                <a:cs typeface="Calibri"/>
              </a:rPr>
              <a:t>Wenn ein Mitarbeiter belästigendes Verhalten beobachtet, ist ein </a:t>
            </a:r>
            <a:r>
              <a:rPr lang="de" sz="1800" b="1" i="0" strike="noStrike" cap="none" spc="0" baseline="0">
                <a:solidFill>
                  <a:srgbClr val="000000"/>
                </a:solidFill>
                <a:effectLst/>
                <a:latin typeface="Calibri"/>
                <a:ea typeface="Calibri"/>
                <a:cs typeface="Calibri"/>
              </a:rPr>
              <a:t>Manager</a:t>
            </a:r>
            <a:r>
              <a:rPr lang="de" sz="1800" b="0" i="0" strike="noStrike" cap="none" spc="0" baseline="0">
                <a:solidFill>
                  <a:srgbClr val="000000"/>
                </a:solidFill>
                <a:effectLst/>
                <a:latin typeface="Calibri"/>
                <a:ea typeface="Calibri"/>
                <a:cs typeface="Calibri"/>
              </a:rPr>
              <a:t> in der Regel der schlechte Schauspieler.</a:t>
            </a:r>
            <a:endParaRPr lang="en-US" kern="1200">
              <a:latin typeface="+mn-lt"/>
              <a:ea typeface="+mn-ea"/>
              <a:cs typeface="+mn-cs"/>
            </a:endParaRPr>
          </a:p>
        </p:txBody>
      </p:sp>
      <p:sp>
        <p:nvSpPr>
          <p:cNvPr id="4" name="Date Placeholder 3" hidden="1">
            <a:extLst>
              <a:ext uri="{FF2B5EF4-FFF2-40B4-BE49-F238E27FC236}">
                <a16:creationId xmlns:a16="http://schemas.microsoft.com/office/drawing/2014/main" id="{68CECCB0-AD0A-475B-29B8-6C408B98E71A}"/>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23DB1538-D7D3-12C4-C7DC-486BD86701EE}"/>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7</a:t>
            </a:fld>
            <a:endParaRPr lang="en-US"/>
          </a:p>
        </p:txBody>
      </p:sp>
    </p:spTree>
    <p:extLst>
      <p:ext uri="{BB962C8B-B14F-4D97-AF65-F5344CB8AC3E}">
        <p14:creationId xmlns:p14="http://schemas.microsoft.com/office/powerpoint/2010/main" val="2177728087"/>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32729-D1A0-2498-9446-B4C38D051394}"/>
              </a:ext>
            </a:extLst>
          </p:cNvPr>
          <p:cNvSpPr>
            <a:spLocks noGrp="1"/>
          </p:cNvSpPr>
          <p:nvPr>
            <p:ph type="ctrTitle"/>
          </p:nvPr>
        </p:nvSpPr>
        <p:spPr>
          <a:xfrm>
            <a:off x="1143000" y="1122363"/>
            <a:ext cx="6858000" cy="2387600"/>
          </a:xfrm>
        </p:spPr>
        <p:txBody>
          <a:bodyPr vert="horz" lIns="91440" tIns="45720" rIns="91440" bIns="45720" rtlCol="0" anchor="b">
            <a:normAutofit/>
          </a:bodyPr>
          <a:lstStyle/>
          <a:p>
            <a:r>
              <a:rPr lang="de" sz="4500" b="0" i="0" strike="noStrike" cap="none" spc="0" baseline="0">
                <a:solidFill>
                  <a:srgbClr val="000000"/>
                </a:solidFill>
                <a:effectLst/>
                <a:latin typeface="Calibri Light"/>
                <a:ea typeface="Calibri Light"/>
                <a:cs typeface="Calibri Light"/>
              </a:rPr>
              <a:t>Antwort...</a:t>
            </a:r>
          </a:p>
        </p:txBody>
      </p:sp>
      <p:sp>
        <p:nvSpPr>
          <p:cNvPr id="8" name="TextBox 7">
            <a:extLst>
              <a:ext uri="{FF2B5EF4-FFF2-40B4-BE49-F238E27FC236}">
                <a16:creationId xmlns:a16="http://schemas.microsoft.com/office/drawing/2014/main" id="{150F00E2-00FB-9955-A67E-6B6D62965415}"/>
              </a:ext>
            </a:extLst>
          </p:cNvPr>
          <p:cNvSpPr txBox="1"/>
          <p:nvPr/>
        </p:nvSpPr>
        <p:spPr>
          <a:xfrm>
            <a:off x="1143000" y="3602038"/>
            <a:ext cx="6858000" cy="1655762"/>
          </a:xfrm>
          <a:prstGeom prst="rect">
            <a:avLst/>
          </a:prstGeom>
        </p:spPr>
        <p:txBody>
          <a:bodyPr vert="horz" lIns="91440" tIns="45720" rIns="91440" bIns="45720" rtlCol="0">
            <a:normAutofit/>
          </a:bodyPr>
          <a:lstStyle/>
          <a:p>
            <a:pPr algn="ctr" defTabSz="685749">
              <a:lnSpc>
                <a:spcPct val="90000"/>
              </a:lnSpc>
              <a:spcBef>
                <a:spcPts val="750"/>
              </a:spcBef>
            </a:pPr>
            <a:r>
              <a:rPr lang="de" sz="1800" b="0" i="0" strike="noStrike" cap="none" spc="0" baseline="0">
                <a:solidFill>
                  <a:srgbClr val="000000"/>
                </a:solidFill>
                <a:effectLst/>
                <a:latin typeface="Calibri"/>
                <a:ea typeface="Calibri"/>
                <a:cs typeface="Calibri"/>
              </a:rPr>
              <a:t>Die obige Aussage ist </a:t>
            </a:r>
            <a:r>
              <a:rPr lang="de" sz="1800" b="1" i="0" strike="noStrike" cap="none" spc="0" baseline="0">
                <a:solidFill>
                  <a:srgbClr val="FF0000"/>
                </a:solidFill>
                <a:effectLst/>
                <a:latin typeface="Calibri"/>
                <a:ea typeface="Calibri"/>
                <a:cs typeface="Calibri"/>
              </a:rPr>
              <a:t>FALSCH</a:t>
            </a:r>
          </a:p>
          <a:p>
            <a:pPr algn="ctr" defTabSz="685749">
              <a:lnSpc>
                <a:spcPct val="90000"/>
              </a:lnSpc>
              <a:spcBef>
                <a:spcPts val="750"/>
              </a:spcBef>
            </a:pPr>
            <a:endParaRPr lang="en-US" kern="1200">
              <a:latin typeface="+mn-lt"/>
              <a:ea typeface="+mn-ea"/>
              <a:cs typeface="+mn-cs"/>
            </a:endParaRPr>
          </a:p>
          <a:p>
            <a:pPr algn="ctr" defTabSz="685749">
              <a:lnSpc>
                <a:spcPct val="90000"/>
              </a:lnSpc>
              <a:spcBef>
                <a:spcPts val="750"/>
              </a:spcBef>
            </a:pPr>
            <a:r>
              <a:rPr lang="de" sz="1800" b="0" i="0" strike="noStrike" cap="none" spc="0" baseline="0">
                <a:solidFill>
                  <a:srgbClr val="000000"/>
                </a:solidFill>
                <a:effectLst/>
                <a:latin typeface="Calibri"/>
                <a:ea typeface="Calibri"/>
                <a:cs typeface="Calibri"/>
              </a:rPr>
              <a:t>Kollegen sind genauso wahrscheinlich, dass sie sich an Belästigung beteiligen wie Vorgesetzte.</a:t>
            </a:r>
            <a:endParaRPr lang="en-US" kern="1200">
              <a:latin typeface="+mn-lt"/>
              <a:ea typeface="+mn-ea"/>
              <a:cs typeface="+mn-cs"/>
            </a:endParaRPr>
          </a:p>
        </p:txBody>
      </p:sp>
      <p:sp>
        <p:nvSpPr>
          <p:cNvPr id="5" name="Slide Number Placeholder 4" hidden="1">
            <a:extLst>
              <a:ext uri="{FF2B5EF4-FFF2-40B4-BE49-F238E27FC236}">
                <a16:creationId xmlns:a16="http://schemas.microsoft.com/office/drawing/2014/main" id="{2D90AD7F-E22E-A72A-71B9-E3A237FA4681}"/>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8</a:t>
            </a:fld>
            <a:endParaRPr lang="en-US"/>
          </a:p>
        </p:txBody>
      </p:sp>
    </p:spTree>
    <p:extLst>
      <p:ext uri="{BB962C8B-B14F-4D97-AF65-F5344CB8AC3E}">
        <p14:creationId xmlns:p14="http://schemas.microsoft.com/office/powerpoint/2010/main" val="832071717"/>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41902E-2637-717F-B53D-572920A6ACEF}"/>
              </a:ext>
            </a:extLst>
          </p:cNvPr>
          <p:cNvSpPr>
            <a:spLocks noGrp="1"/>
          </p:cNvSpPr>
          <p:nvPr>
            <p:ph type="title"/>
          </p:nvPr>
        </p:nvSpPr>
        <p:spPr>
          <a:xfrm>
            <a:off x="822959" y="182880"/>
            <a:ext cx="7381415" cy="729882"/>
          </a:xfrm>
        </p:spPr>
        <p:txBody>
          <a:bodyPr vert="horz" lIns="91440" tIns="45720" rIns="91440" bIns="45720" rtlCol="0" anchor="ctr">
            <a:normAutofit/>
          </a:bodyPr>
          <a:lstStyle/>
          <a:p>
            <a:r>
              <a:rPr lang="de" sz="2000" b="0" i="0" strike="noStrike" cap="none" spc="0" baseline="0">
                <a:solidFill>
                  <a:srgbClr val="FFFFFF"/>
                </a:solidFill>
                <a:effectLst/>
                <a:latin typeface="Calibri Light"/>
                <a:ea typeface="Calibri Light"/>
                <a:cs typeface="Calibri Light"/>
              </a:rPr>
              <a:t>Feindseliges Arbeitsumfeld</a:t>
            </a:r>
          </a:p>
        </p:txBody>
      </p:sp>
      <p:sp>
        <p:nvSpPr>
          <p:cNvPr id="15" name="Content Placeholder 2">
            <a:extLst>
              <a:ext uri="{FF2B5EF4-FFF2-40B4-BE49-F238E27FC236}">
                <a16:creationId xmlns:a16="http://schemas.microsoft.com/office/drawing/2014/main" id="{A57ADB30-AA57-FF7E-1163-C8F0957A0B76}"/>
              </a:ext>
            </a:extLst>
          </p:cNvPr>
          <p:cNvSpPr>
            <a:spLocks noGrp="1"/>
          </p:cNvSpPr>
          <p:nvPr>
            <p:ph sz="half" idx="1"/>
          </p:nvPr>
        </p:nvSpPr>
        <p:spPr>
          <a:xfrm>
            <a:off x="365760" y="1539696"/>
            <a:ext cx="3886200" cy="5135424"/>
          </a:xfrm>
        </p:spPr>
        <p:txBody>
          <a:bodyPr/>
          <a:lstStyle/>
          <a:p>
            <a:pPr marL="0" indent="0">
              <a:buNone/>
            </a:pPr>
            <a:r>
              <a:rPr lang="de" sz="2100" b="0" i="0" strike="noStrike" cap="none" spc="0" baseline="0" dirty="0">
                <a:solidFill>
                  <a:srgbClr val="000000"/>
                </a:solidFill>
                <a:effectLst/>
                <a:latin typeface="Calibri"/>
                <a:ea typeface="Calibri"/>
                <a:cs typeface="Calibri"/>
              </a:rPr>
              <a:t>Beispiel (Aufbau von Kommentaren im Laufe der Zeit)</a:t>
            </a:r>
          </a:p>
          <a:p>
            <a:pPr marL="0" indent="0">
              <a:buNone/>
            </a:pPr>
            <a:endParaRPr lang="en-US" dirty="0"/>
          </a:p>
          <a:p>
            <a:pPr marL="0" indent="0">
              <a:buNone/>
            </a:pPr>
            <a:endParaRPr lang="en-US" dirty="0"/>
          </a:p>
          <a:p>
            <a:pPr marL="0" indent="0">
              <a:buNone/>
            </a:pPr>
            <a:r>
              <a:rPr lang="de" sz="1600" b="0" i="0" strike="noStrike" cap="none" spc="0" baseline="0" dirty="0">
                <a:solidFill>
                  <a:srgbClr val="000000"/>
                </a:solidFill>
                <a:effectLst/>
                <a:latin typeface="Calibri"/>
                <a:ea typeface="Calibri"/>
                <a:cs typeface="Calibri"/>
              </a:rPr>
              <a:t>            „Schaut gut aus, Mädchen“</a:t>
            </a:r>
          </a:p>
          <a:p>
            <a:pPr marL="0" indent="0">
              <a:buNone/>
            </a:pPr>
            <a:endParaRPr lang="en-US" dirty="0"/>
          </a:p>
          <a:p>
            <a:pPr marL="0" indent="0">
              <a:buNone/>
            </a:pPr>
            <a:endParaRPr lang="en-US" sz="1600" dirty="0"/>
          </a:p>
          <a:p>
            <a:pPr marL="0" indent="0">
              <a:buNone/>
            </a:pPr>
            <a:r>
              <a:rPr lang="de" sz="1600" b="0" i="0" strike="noStrike" cap="none" spc="0" baseline="0" dirty="0">
                <a:solidFill>
                  <a:srgbClr val="000000"/>
                </a:solidFill>
                <a:effectLst/>
                <a:latin typeface="Calibri"/>
                <a:ea typeface="Calibri"/>
                <a:cs typeface="Calibri"/>
              </a:rPr>
              <a:t>„Warum lächeln Sie nicht mehr?“</a:t>
            </a:r>
          </a:p>
          <a:p>
            <a:pPr marL="0" indent="0">
              <a:buNone/>
            </a:pPr>
            <a:endParaRPr lang="en-US" dirty="0"/>
          </a:p>
          <a:p>
            <a:pPr marL="0" indent="0">
              <a:buNone/>
            </a:pPr>
            <a:endParaRPr lang="en-US" dirty="0"/>
          </a:p>
          <a:p>
            <a:pPr marL="0" indent="0">
              <a:buNone/>
            </a:pPr>
            <a:r>
              <a:rPr lang="de" sz="1600" b="0" i="0" strike="noStrike" cap="none" spc="0" baseline="0" dirty="0">
                <a:solidFill>
                  <a:srgbClr val="000000"/>
                </a:solidFill>
                <a:effectLst/>
                <a:latin typeface="Calibri"/>
                <a:ea typeface="Calibri"/>
                <a:cs typeface="Calibri"/>
              </a:rPr>
              <a:t>„Verwenden Sie Ihren junglichen Charme, um Ihre Meinung zu äußern“</a:t>
            </a:r>
          </a:p>
          <a:p>
            <a:pPr marL="0" indent="0">
              <a:buNone/>
            </a:pPr>
            <a:endParaRPr lang="en-US" dirty="0"/>
          </a:p>
          <a:p>
            <a:pPr marL="0" indent="0">
              <a:buNone/>
            </a:pPr>
            <a:endParaRPr lang="en-US" dirty="0"/>
          </a:p>
        </p:txBody>
      </p:sp>
      <p:sp>
        <p:nvSpPr>
          <p:cNvPr id="4" name="Date Placeholder 3" hidden="1">
            <a:extLst>
              <a:ext uri="{FF2B5EF4-FFF2-40B4-BE49-F238E27FC236}">
                <a16:creationId xmlns:a16="http://schemas.microsoft.com/office/drawing/2014/main" id="{03DB67EF-BBA9-553C-40B3-F0F1A8116F29}"/>
              </a:ext>
            </a:extLst>
          </p:cNvPr>
          <p:cNvSpPr>
            <a:spLocks noGrp="1"/>
          </p:cNvSpPr>
          <p:nvPr>
            <p:ph type="dt" sz="half" idx="4294967295"/>
          </p:nvPr>
        </p:nvSpPr>
        <p:spPr>
          <a:xfrm>
            <a:off x="5828145" y="6558353"/>
            <a:ext cx="2869679" cy="365125"/>
          </a:xfrm>
        </p:spPr>
        <p:txBody>
          <a:bodyPr/>
          <a:lstStyle/>
          <a:p>
            <a:pPr>
              <a:spcAft>
                <a:spcPts val="600"/>
              </a:spcAft>
            </a:pPr>
            <a:r>
              <a:rPr lang="en-US"/>
              <a:t>[EVENT NAME]  [DATE]</a:t>
            </a:r>
          </a:p>
        </p:txBody>
      </p:sp>
      <p:sp>
        <p:nvSpPr>
          <p:cNvPr id="5" name="Slide Number Placeholder 4" hidden="1">
            <a:extLst>
              <a:ext uri="{FF2B5EF4-FFF2-40B4-BE49-F238E27FC236}">
                <a16:creationId xmlns:a16="http://schemas.microsoft.com/office/drawing/2014/main" id="{5449FD41-97DA-B96E-E874-37F373C3A50D}"/>
              </a:ext>
            </a:extLst>
          </p:cNvPr>
          <p:cNvSpPr>
            <a:spLocks noGrp="1"/>
          </p:cNvSpPr>
          <p:nvPr>
            <p:ph type="sldNum" sz="quarter" idx="4294967295"/>
          </p:nvPr>
        </p:nvSpPr>
        <p:spPr>
          <a:xfrm>
            <a:off x="8663437" y="6558353"/>
            <a:ext cx="480561" cy="365125"/>
          </a:xfrm>
        </p:spPr>
        <p:txBody>
          <a:bodyPr/>
          <a:lstStyle/>
          <a:p>
            <a:pPr>
              <a:spcAft>
                <a:spcPts val="600"/>
              </a:spcAft>
            </a:pPr>
            <a:fld id="{BB5FC4A1-A2DE-4EB5-9A46-57D39B4235EC}" type="slidenum">
              <a:rPr lang="en-US" smtClean="0"/>
              <a:pPr>
                <a:spcAft>
                  <a:spcPts val="600"/>
                </a:spcAft>
              </a:pPr>
              <a:t>9</a:t>
            </a:fld>
            <a:endParaRPr lang="en-US"/>
          </a:p>
        </p:txBody>
      </p:sp>
      <p:graphicFrame>
        <p:nvGraphicFramePr>
          <p:cNvPr id="11" name="TextBox 8">
            <a:extLst>
              <a:ext uri="{FF2B5EF4-FFF2-40B4-BE49-F238E27FC236}">
                <a16:creationId xmlns:a16="http://schemas.microsoft.com/office/drawing/2014/main" id="{5C8EE2C3-03A6-ABAF-3E18-D116DCC72FC4}"/>
              </a:ext>
            </a:extLst>
          </p:cNvPr>
          <p:cNvGraphicFramePr/>
          <p:nvPr>
            <p:extLst>
              <p:ext uri="{D42A27DB-BD31-4B8C-83A1-F6EECF244321}">
                <p14:modId xmlns:p14="http://schemas.microsoft.com/office/powerpoint/2010/main" val="552498296"/>
              </p:ext>
            </p:extLst>
          </p:nvPr>
        </p:nvGraphicFramePr>
        <p:xfrm>
          <a:off x="4629150" y="1508760"/>
          <a:ext cx="3886200" cy="51354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Cloud 9">
            <a:extLst>
              <a:ext uri="{FF2B5EF4-FFF2-40B4-BE49-F238E27FC236}">
                <a16:creationId xmlns:a16="http://schemas.microsoft.com/office/drawing/2014/main" id="{4973049F-7464-8CEC-6A0C-5251C1FF3DEA}"/>
              </a:ext>
            </a:extLst>
          </p:cNvPr>
          <p:cNvSpPr/>
          <p:nvPr/>
        </p:nvSpPr>
        <p:spPr>
          <a:xfrm>
            <a:off x="685800" y="2797131"/>
            <a:ext cx="2953511" cy="867042"/>
          </a:xfrm>
          <a:prstGeom prst="cloud">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Cloud 11">
            <a:extLst>
              <a:ext uri="{FF2B5EF4-FFF2-40B4-BE49-F238E27FC236}">
                <a16:creationId xmlns:a16="http://schemas.microsoft.com/office/drawing/2014/main" id="{FC81ACA9-37AB-3848-2CFF-062B6FE76A28}"/>
              </a:ext>
            </a:extLst>
          </p:cNvPr>
          <p:cNvSpPr/>
          <p:nvPr/>
        </p:nvSpPr>
        <p:spPr>
          <a:xfrm>
            <a:off x="73151" y="3664173"/>
            <a:ext cx="3694176" cy="1049922"/>
          </a:xfrm>
          <a:prstGeom prst="cloud">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Cloud 12">
            <a:extLst>
              <a:ext uri="{FF2B5EF4-FFF2-40B4-BE49-F238E27FC236}">
                <a16:creationId xmlns:a16="http://schemas.microsoft.com/office/drawing/2014/main" id="{1A002978-A98E-CB9D-6EC7-7BD47016C50B}"/>
              </a:ext>
            </a:extLst>
          </p:cNvPr>
          <p:cNvSpPr/>
          <p:nvPr/>
        </p:nvSpPr>
        <p:spPr>
          <a:xfrm>
            <a:off x="73152" y="4714095"/>
            <a:ext cx="4178808" cy="1482966"/>
          </a:xfrm>
          <a:prstGeom prst="cloud">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481431200"/>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AS_OS" val="Unix 3.10.0.1160"/>
  <p:tag name="AS_RELEASE_DATE" val="2023.06.30"/>
  <p:tag name="AS_TITLE" val="Aspose.Slides for Java"/>
  <p:tag name="AS_VERSION" val="23.6"/>
  <p:tag name="THINKCELLPRESENTATIONDONOTDELETE" val="&lt;?xml version=&quot;1.0&quot; encoding=&quot;UTF-16&quot; standalone=&quot;yes&quot;?&gt;&lt;root reqver=&quot;24162&quot;&gt;&lt;version val=&quot;2702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3&quot;&gt;&lt;elem m_fUsage=&quot;5.94189690230814804295E+00&quot;&gt;&lt;m_msothmcolidx val=&quot;0&quot;/&gt;&lt;m_rgb r=&quot;20&quot; g=&quot;38&quot; b=&quot;64&quot;/&gt;&lt;m_nBrightness tagver0=&quot;26206&quot; tagname0=&quot;m_nBrightnessUNRECOGNIZED&quot; val=&quot;0&quot;/&gt;&lt;/elem&gt;&lt;elem m_fUsage=&quot;1.90876410999999990281E+00&quot;&gt;&lt;m_msothmcolidx val=&quot;0&quot;/&gt;&lt;m_rgb r=&quot;F6&quot; g=&quot;F3&quot; b=&quot;EB&quot;/&gt;&lt;m_nBrightness tagver0=&quot;26206&quot; tagname0=&quot;m_nBrightnessUNRECOGNIZED&quot; val=&quot;0&quot;/&gt;&lt;/elem&gt;&lt;elem m_fUsage=&quot;1.56784161766145224703E+00&quot;&gt;&lt;m_msothmcolidx val=&quot;0&quot;/&gt;&lt;m_rgb r=&quot;EB&quot; g=&quot;EE&quot; b=&quot;E6&quot;/&gt;&lt;m_nBrightness tagver0=&quot;26206&quot; tagname0=&quot;m_nBrightnessUNRECOGNIZED&quot; val=&quot;0&quot;/&gt;&lt;/elem&gt;&lt;/m_vecMRU&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LIik6J0SZG7_0mBG8Xg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_mcjQMEtRZ.C8u5DBhCD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PM IR PPT Standard - DRAFT - 12.14.18" id="{9CE6E63C-E94D-FB46-91E7-6AA3D17BB118}" vid="{90DFF340-5132-1E4A-9E8E-B23BC845A7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7a05af7-d3ec-4963-864c-209504fa34de">
      <Terms xmlns="http://schemas.microsoft.com/office/infopath/2007/PartnerControls"/>
    </lcf76f155ced4ddcb4097134ff3c332f>
    <TaxCatchAll xmlns="2ed82cd1-6b84-4a0b-9746-0d197a81b83d"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590C2D6ED61D4479406C8DA89CF0878" ma:contentTypeVersion="18" ma:contentTypeDescription="Create a new document." ma:contentTypeScope="" ma:versionID="9fab1500bc2d3a4d890516a255717ef1">
  <xsd:schema xmlns:xsd="http://www.w3.org/2001/XMLSchema" xmlns:xs="http://www.w3.org/2001/XMLSchema" xmlns:p="http://schemas.microsoft.com/office/2006/metadata/properties" xmlns:ns2="d7a05af7-d3ec-4963-864c-209504fa34de" xmlns:ns3="2ed82cd1-6b84-4a0b-9746-0d197a81b83d" targetNamespace="http://schemas.microsoft.com/office/2006/metadata/properties" ma:root="true" ma:fieldsID="1d2897f00ee0e34ba7a8446ba2849d29" ns2:_="" ns3:_="">
    <xsd:import namespace="d7a05af7-d3ec-4963-864c-209504fa34de"/>
    <xsd:import namespace="2ed82cd1-6b84-4a0b-9746-0d197a81b83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LengthInSeconds" minOccurs="0"/>
                <xsd:element ref="ns2:lcf76f155ced4ddcb4097134ff3c332f" minOccurs="0"/>
                <xsd:element ref="ns3:TaxCatchAll"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7a05af7-d3ec-4963-864c-209504fa34d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ec43bc27-0046-4300-b48a-2db9dc891198"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ed82cd1-6b84-4a0b-9746-0d197a81b83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7600404-635a-4f52-8c6e-abf865231489}" ma:internalName="TaxCatchAll" ma:showField="CatchAllData" ma:web="2ed82cd1-6b84-4a0b-9746-0d197a81b83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56CADE9-4D3D-4C64-A002-EFFA1FA05E14}">
  <ds:schemaRefs>
    <ds:schemaRef ds:uri="http://purl.org/dc/elements/1.1/"/>
    <ds:schemaRef ds:uri="http://schemas.microsoft.com/office/2006/documentManagement/types"/>
    <ds:schemaRef ds:uri="http://schemas.microsoft.com/office/2006/metadata/properties"/>
    <ds:schemaRef ds:uri="http://purl.org/dc/terms/"/>
    <ds:schemaRef ds:uri="http://purl.org/dc/dcmitype/"/>
    <ds:schemaRef ds:uri="http://schemas.microsoft.com/office/infopath/2007/PartnerControls"/>
    <ds:schemaRef ds:uri="http://schemas.openxmlformats.org/package/2006/metadata/core-properties"/>
    <ds:schemaRef ds:uri="2f06a283-6e2a-4468-871b-e6c63acdb121"/>
    <ds:schemaRef ds:uri="f8d36d2f-c42f-4f1f-9b2f-abc69cc7a5ad"/>
    <ds:schemaRef ds:uri="http://www.w3.org/XML/1998/namespace"/>
    <ds:schemaRef ds:uri="d7a05af7-d3ec-4963-864c-209504fa34de"/>
    <ds:schemaRef ds:uri="2ed82cd1-6b84-4a0b-9746-0d197a81b83d"/>
  </ds:schemaRefs>
</ds:datastoreItem>
</file>

<file path=customXml/itemProps2.xml><?xml version="1.0" encoding="utf-8"?>
<ds:datastoreItem xmlns:ds="http://schemas.openxmlformats.org/officeDocument/2006/customXml" ds:itemID="{716B392D-E5BF-4564-B6BF-23992C910A2D}">
  <ds:schemaRefs/>
</ds:datastoreItem>
</file>

<file path=customXml/itemProps3.xml><?xml version="1.0" encoding="utf-8"?>
<ds:datastoreItem xmlns:ds="http://schemas.openxmlformats.org/officeDocument/2006/customXml" ds:itemID="{FC480F10-BE65-4D28-A54D-405435C8ED7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RPM IR PPT Standard - DRAFT - 12.14.18</Template>
  <TotalTime>12372</TotalTime>
  <Words>1703</Words>
  <Application>Microsoft Office PowerPoint</Application>
  <PresentationFormat>On-screen Show (4:3)</PresentationFormat>
  <Paragraphs>246</Paragraphs>
  <Slides>27</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2" baseType="lpstr">
      <vt:lpstr>Arial</vt:lpstr>
      <vt:lpstr>Calibri</vt:lpstr>
      <vt:lpstr>Calibri Light</vt:lpstr>
      <vt:lpstr>Office Theme</vt:lpstr>
      <vt:lpstr>think-cell Slide</vt:lpstr>
      <vt:lpstr>PowerPoint Presentation</vt:lpstr>
      <vt:lpstr>Diskriminierung und Belästigung verhindern </vt:lpstr>
      <vt:lpstr>Diskriminierung und Belästigung verhindern</vt:lpstr>
      <vt:lpstr>Was ist Belästigung und Diskriminierung? </vt:lpstr>
      <vt:lpstr>Geschützte Böden</vt:lpstr>
      <vt:lpstr>Sexuelle Belästigung</vt:lpstr>
      <vt:lpstr>RICHTIG ODER FALSCH?</vt:lpstr>
      <vt:lpstr>Antwort...</vt:lpstr>
      <vt:lpstr>Feindseliges Arbeitsumfeld</vt:lpstr>
      <vt:lpstr>Geschlechts-Stereotypen</vt:lpstr>
      <vt:lpstr>RICHTIG ODER FALSCH?</vt:lpstr>
      <vt:lpstr>Antwort...</vt:lpstr>
      <vt:lpstr>Sexuelle Belästigung – können Sie sie erkennen? </vt:lpstr>
      <vt:lpstr>Unangemessene Sprache und Kommentare</vt:lpstr>
      <vt:lpstr>Feindseliges Arbeitsumfeld</vt:lpstr>
      <vt:lpstr>Vor Ort vs. außerhalb</vt:lpstr>
      <vt:lpstr>Diskriminierung</vt:lpstr>
      <vt:lpstr>Mobbing am Arbeitsplatz</vt:lpstr>
      <vt:lpstr>Persönlich vs. Arbeit</vt:lpstr>
      <vt:lpstr>Verhalten am Arbeitsplatz – Fragen, die Sie sich stellen sollten</vt:lpstr>
      <vt:lpstr>Zuschauer – unerwünschte Verhaltensweisen erkennen</vt:lpstr>
      <vt:lpstr>Was zu tun ist, wenn Sie unangemessenes Verhalten beobachten</vt:lpstr>
      <vt:lpstr>Die Richtlinie zur Vermeidung von Vergeltungsmaßnahmen von RPM </vt:lpstr>
      <vt:lpstr>Vergeltungsmaßnahmen </vt:lpstr>
      <vt:lpstr>Richtig oder falsch?</vt:lpstr>
      <vt:lpstr>Antwort...</vt:lpstr>
      <vt:lpstr>Vielen Dank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ynn DeChant</dc:creator>
  <cp:lastModifiedBy>Shelley Earl</cp:lastModifiedBy>
  <cp:revision>36</cp:revision>
  <cp:lastPrinted>2020-04-30T20:14:04Z</cp:lastPrinted>
  <dcterms:created xsi:type="dcterms:W3CDTF">2018-12-18T18:53:57Z</dcterms:created>
  <dcterms:modified xsi:type="dcterms:W3CDTF">2024-03-25T18:21: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590C2D6ED61D4479406C8DA89CF0878</vt:lpwstr>
  </property>
  <property fmtid="{D5CDD505-2E9C-101B-9397-08002B2CF9AE}" pid="3" name="MediaServiceImageTags">
    <vt:lpwstr/>
  </property>
</Properties>
</file>